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6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media/image49.jpg" ContentType="image/jpeg"/>
  <Override PartName="/ppt/media/image55.jpg" ContentType="image/jpeg"/>
  <Override PartName="/ppt/media/image56.jpg" ContentType="image/jpeg"/>
  <Override PartName="/ppt/media/image60.jpg" ContentType="image/jpeg"/>
  <Override PartName="/ppt/media/image63.jpg" ContentType="image/jpe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4" r:id="rId1"/>
    <p:sldMasterId id="2147483808" r:id="rId2"/>
    <p:sldMasterId id="2147483815" r:id="rId3"/>
    <p:sldMasterId id="2147483857" r:id="rId4"/>
    <p:sldMasterId id="2147483875" r:id="rId5"/>
    <p:sldMasterId id="2147483899" r:id="rId6"/>
    <p:sldMasterId id="2147483942" r:id="rId7"/>
  </p:sldMasterIdLst>
  <p:notesMasterIdLst>
    <p:notesMasterId r:id="rId21"/>
  </p:notesMasterIdLst>
  <p:handoutMasterIdLst>
    <p:handoutMasterId r:id="rId22"/>
  </p:handoutMasterIdLst>
  <p:sldIdLst>
    <p:sldId id="624" r:id="rId8"/>
    <p:sldId id="863" r:id="rId9"/>
    <p:sldId id="885" r:id="rId10"/>
    <p:sldId id="791" r:id="rId11"/>
    <p:sldId id="832" r:id="rId12"/>
    <p:sldId id="862" r:id="rId13"/>
    <p:sldId id="614" r:id="rId14"/>
    <p:sldId id="801" r:id="rId15"/>
    <p:sldId id="803" r:id="rId16"/>
    <p:sldId id="804" r:id="rId17"/>
    <p:sldId id="891" r:id="rId18"/>
    <p:sldId id="892" r:id="rId19"/>
    <p:sldId id="401" r:id="rId20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39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4BFBD"/>
    <a:srgbClr val="996633"/>
    <a:srgbClr val="E30613"/>
    <a:srgbClr val="575756"/>
    <a:srgbClr val="E21E25"/>
    <a:srgbClr val="960000"/>
    <a:srgbClr val="F57575"/>
    <a:srgbClr val="B10F0F"/>
    <a:srgbClr val="7A0000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968" autoAdjust="0"/>
    <p:restoredTop sz="87730" autoAdjust="0"/>
  </p:normalViewPr>
  <p:slideViewPr>
    <p:cSldViewPr showGuides="1">
      <p:cViewPr varScale="1">
        <p:scale>
          <a:sx n="114" d="100"/>
          <a:sy n="114" d="100"/>
        </p:scale>
        <p:origin x="168" y="448"/>
      </p:cViewPr>
      <p:guideLst>
        <p:guide orient="horz" pos="3239"/>
        <p:guide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120" y="-77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099300000000001E-2"/>
          <c:y val="4.76433E-2"/>
          <c:w val="0.97790100000000002"/>
          <c:h val="0.91928299999999996"/>
        </c:manualLayout>
      </c:layout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705379840"/>
        <c:axId val="43608896"/>
      </c:barChart>
      <c:catAx>
        <c:axId val="170537984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one"/>
        <c:spPr>
          <a:ln w="12700" cap="flat">
            <a:noFill/>
            <a:miter lim="400000"/>
          </a:ln>
        </c:spPr>
        <c:txPr>
          <a:bodyPr rot="0"/>
          <a:lstStyle/>
          <a:p>
            <a:pPr>
              <a:defRPr sz="1800" b="0" i="0" u="none" strike="noStrike">
                <a:solidFill>
                  <a:srgbClr val="FFFFFF"/>
                </a:solidFill>
                <a:latin typeface="Helvetica"/>
              </a:defRPr>
            </a:pPr>
            <a:endParaRPr lang="en-US"/>
          </a:p>
        </c:txPr>
        <c:crossAx val="43608896"/>
        <c:crosses val="autoZero"/>
        <c:auto val="1"/>
        <c:lblAlgn val="ctr"/>
        <c:lblOffset val="100"/>
        <c:noMultiLvlLbl val="1"/>
      </c:catAx>
      <c:valAx>
        <c:axId val="4360889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one"/>
        <c:spPr>
          <a:ln w="12700" cap="flat">
            <a:noFill/>
            <a:miter lim="400000"/>
          </a:ln>
        </c:spPr>
        <c:txPr>
          <a:bodyPr rot="0"/>
          <a:lstStyle/>
          <a:p>
            <a:pPr>
              <a:defRPr sz="1800" b="0" i="0" u="none" strike="noStrike">
                <a:solidFill>
                  <a:srgbClr val="000000"/>
                </a:solidFill>
                <a:latin typeface="Helvetica"/>
              </a:defRPr>
            </a:pPr>
            <a:endParaRPr lang="en-US"/>
          </a:p>
        </c:txPr>
        <c:crossAx val="1705379840"/>
        <c:crosses val="autoZero"/>
        <c:crossBetween val="between"/>
        <c:majorUnit val="20"/>
        <c:minorUnit val="10"/>
      </c:valAx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37EBAB9-4229-4CD0-9450-B50052018706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7F0B6C0-94C7-4306-8DEB-E4EA513AD766}">
      <dgm:prSet phldrT="[Text]"/>
      <dgm:spPr/>
      <dgm:t>
        <a:bodyPr/>
        <a:lstStyle/>
        <a:p>
          <a:r>
            <a:rPr lang="en-US" dirty="0"/>
            <a:t>MC Authenticator</a:t>
          </a:r>
        </a:p>
      </dgm:t>
    </dgm:pt>
    <dgm:pt modelId="{1B263A01-E126-4BBB-A3E3-5602B6D215C2}" type="parTrans" cxnId="{14FE0000-C047-4029-9805-51C2E54519DF}">
      <dgm:prSet/>
      <dgm:spPr/>
      <dgm:t>
        <a:bodyPr/>
        <a:lstStyle/>
        <a:p>
          <a:endParaRPr lang="en-US"/>
        </a:p>
      </dgm:t>
    </dgm:pt>
    <dgm:pt modelId="{CBAF806F-6D10-4979-9167-D88D70FBB4A1}" type="sibTrans" cxnId="{14FE0000-C047-4029-9805-51C2E54519DF}">
      <dgm:prSet/>
      <dgm:spPr/>
      <dgm:t>
        <a:bodyPr/>
        <a:lstStyle/>
        <a:p>
          <a:endParaRPr lang="en-US"/>
        </a:p>
      </dgm:t>
    </dgm:pt>
    <dgm:pt modelId="{5D5CBE5E-5C7E-4A9F-8D4E-436EB55EB0D1}">
      <dgm:prSet phldrT="[Text]"/>
      <dgm:spPr/>
      <dgm:t>
        <a:bodyPr/>
        <a:lstStyle/>
        <a:p>
          <a:r>
            <a:rPr lang="en-US" dirty="0" err="1"/>
            <a:t>Turkcell</a:t>
          </a:r>
          <a:r>
            <a:rPr lang="en-US" dirty="0"/>
            <a:t> 1</a:t>
          </a:r>
        </a:p>
      </dgm:t>
    </dgm:pt>
    <dgm:pt modelId="{C5553471-9AC6-4891-8988-1E5DC4291FE5}" type="parTrans" cxnId="{B477226F-F7AF-49D9-A8DA-B46AECAFF4CF}">
      <dgm:prSet/>
      <dgm:spPr/>
      <dgm:t>
        <a:bodyPr/>
        <a:lstStyle/>
        <a:p>
          <a:endParaRPr lang="en-US"/>
        </a:p>
      </dgm:t>
    </dgm:pt>
    <dgm:pt modelId="{C06BB86A-4800-4CB5-89F5-93FCCF0869EC}" type="sibTrans" cxnId="{B477226F-F7AF-49D9-A8DA-B46AECAFF4CF}">
      <dgm:prSet/>
      <dgm:spPr/>
      <dgm:t>
        <a:bodyPr/>
        <a:lstStyle/>
        <a:p>
          <a:endParaRPr lang="en-US"/>
        </a:p>
      </dgm:t>
    </dgm:pt>
    <dgm:pt modelId="{5B3B9FC7-7F69-4BD9-9B36-E953A0370A87}">
      <dgm:prSet phldrT="[Text]"/>
      <dgm:spPr/>
      <dgm:t>
        <a:bodyPr/>
        <a:lstStyle/>
        <a:p>
          <a:r>
            <a:rPr lang="en-US" dirty="0" err="1"/>
            <a:t>Turkcell</a:t>
          </a:r>
          <a:r>
            <a:rPr lang="en-US" dirty="0"/>
            <a:t> 2</a:t>
          </a:r>
        </a:p>
      </dgm:t>
    </dgm:pt>
    <dgm:pt modelId="{145617F6-2641-46D7-80AB-5628F4BD1BBD}" type="parTrans" cxnId="{AA72C269-AE9E-4175-9166-BA505416FE34}">
      <dgm:prSet/>
      <dgm:spPr/>
      <dgm:t>
        <a:bodyPr/>
        <a:lstStyle/>
        <a:p>
          <a:endParaRPr lang="en-US"/>
        </a:p>
      </dgm:t>
    </dgm:pt>
    <dgm:pt modelId="{C3E5D671-E674-4D9A-BF80-D30398206062}" type="sibTrans" cxnId="{AA72C269-AE9E-4175-9166-BA505416FE34}">
      <dgm:prSet/>
      <dgm:spPr/>
      <dgm:t>
        <a:bodyPr/>
        <a:lstStyle/>
        <a:p>
          <a:endParaRPr lang="en-US"/>
        </a:p>
      </dgm:t>
    </dgm:pt>
    <dgm:pt modelId="{CE81E08F-254C-4B87-AF0A-D41791FD1FFA}">
      <dgm:prSet phldrT="[Text]"/>
      <dgm:spPr/>
      <dgm:t>
        <a:bodyPr/>
        <a:lstStyle/>
        <a:p>
          <a:r>
            <a:rPr lang="en-US" dirty="0" err="1"/>
            <a:t>Turkcell</a:t>
          </a:r>
          <a:r>
            <a:rPr lang="en-US" dirty="0"/>
            <a:t> 3</a:t>
          </a:r>
        </a:p>
      </dgm:t>
    </dgm:pt>
    <dgm:pt modelId="{D29683EA-00B6-4564-9C21-E742F2CAF010}" type="parTrans" cxnId="{4EA308A6-665F-4D6E-8489-02F00717CDA8}">
      <dgm:prSet/>
      <dgm:spPr/>
      <dgm:t>
        <a:bodyPr/>
        <a:lstStyle/>
        <a:p>
          <a:endParaRPr lang="en-US"/>
        </a:p>
      </dgm:t>
    </dgm:pt>
    <dgm:pt modelId="{DD8CFCD1-87FC-4CBB-9739-A25AE3A3AC0F}" type="sibTrans" cxnId="{4EA308A6-665F-4D6E-8489-02F00717CDA8}">
      <dgm:prSet/>
      <dgm:spPr/>
      <dgm:t>
        <a:bodyPr/>
        <a:lstStyle/>
        <a:p>
          <a:endParaRPr lang="en-US"/>
        </a:p>
      </dgm:t>
    </dgm:pt>
    <dgm:pt modelId="{6B6C3E6A-3CB8-4A4F-BAA3-CE7EFA0A810F}">
      <dgm:prSet/>
      <dgm:spPr/>
      <dgm:t>
        <a:bodyPr/>
        <a:lstStyle/>
        <a:p>
          <a:r>
            <a:rPr lang="en-US" dirty="0"/>
            <a:t>3</a:t>
          </a:r>
          <a:r>
            <a:rPr lang="en-US" baseline="30000" dirty="0"/>
            <a:t>rd</a:t>
          </a:r>
          <a:r>
            <a:rPr lang="en-US" dirty="0"/>
            <a:t> party</a:t>
          </a:r>
        </a:p>
      </dgm:t>
    </dgm:pt>
    <dgm:pt modelId="{E026F376-0B1A-43C8-9E95-F83C2659A657}" type="parTrans" cxnId="{FA2B200E-278B-4F03-A896-64915345F25B}">
      <dgm:prSet/>
      <dgm:spPr/>
      <dgm:t>
        <a:bodyPr/>
        <a:lstStyle/>
        <a:p>
          <a:endParaRPr lang="en-US"/>
        </a:p>
      </dgm:t>
    </dgm:pt>
    <dgm:pt modelId="{1048384A-49D9-45F2-B295-75B0763CF86F}" type="sibTrans" cxnId="{FA2B200E-278B-4F03-A896-64915345F25B}">
      <dgm:prSet/>
      <dgm:spPr/>
      <dgm:t>
        <a:bodyPr/>
        <a:lstStyle/>
        <a:p>
          <a:endParaRPr lang="en-US"/>
        </a:p>
      </dgm:t>
    </dgm:pt>
    <dgm:pt modelId="{42588DE3-BA20-4049-9F42-4EC7FAD16295}" type="pres">
      <dgm:prSet presAssocID="{E37EBAB9-4229-4CD0-9450-B50052018706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CF6AA6F-0AD2-4F37-83D9-9D4228205CA9}" type="pres">
      <dgm:prSet presAssocID="{07F0B6C0-94C7-4306-8DEB-E4EA513AD766}" presName="hierRoot1" presStyleCnt="0">
        <dgm:presLayoutVars>
          <dgm:hierBranch val="init"/>
        </dgm:presLayoutVars>
      </dgm:prSet>
      <dgm:spPr/>
    </dgm:pt>
    <dgm:pt modelId="{12E93D51-97FC-4C21-8BD0-E5771CB35532}" type="pres">
      <dgm:prSet presAssocID="{07F0B6C0-94C7-4306-8DEB-E4EA513AD766}" presName="rootComposite1" presStyleCnt="0"/>
      <dgm:spPr/>
    </dgm:pt>
    <dgm:pt modelId="{C6E485F7-2796-49B4-8E01-B0197CF64EFE}" type="pres">
      <dgm:prSet presAssocID="{07F0B6C0-94C7-4306-8DEB-E4EA513AD766}" presName="rootText1" presStyleLbl="node0" presStyleIdx="0" presStyleCnt="1" custScaleX="248796" custScaleY="96282" custLinFactNeighborX="-6314" custLinFactNeighborY="-2318">
        <dgm:presLayoutVars>
          <dgm:chPref val="3"/>
        </dgm:presLayoutVars>
      </dgm:prSet>
      <dgm:spPr/>
    </dgm:pt>
    <dgm:pt modelId="{4991C410-9F1F-4D8B-B9E3-F4D9E0C320CC}" type="pres">
      <dgm:prSet presAssocID="{07F0B6C0-94C7-4306-8DEB-E4EA513AD766}" presName="rootConnector1" presStyleLbl="node1" presStyleIdx="0" presStyleCnt="0"/>
      <dgm:spPr/>
    </dgm:pt>
    <dgm:pt modelId="{B38DDD13-B08B-4CDC-A86D-0BC62B405A8D}" type="pres">
      <dgm:prSet presAssocID="{07F0B6C0-94C7-4306-8DEB-E4EA513AD766}" presName="hierChild2" presStyleCnt="0"/>
      <dgm:spPr/>
    </dgm:pt>
    <dgm:pt modelId="{4261C2D5-16E4-4962-8408-8A550333DEA7}" type="pres">
      <dgm:prSet presAssocID="{C5553471-9AC6-4891-8988-1E5DC4291FE5}" presName="Name37" presStyleLbl="parChTrans1D2" presStyleIdx="0" presStyleCnt="4"/>
      <dgm:spPr/>
    </dgm:pt>
    <dgm:pt modelId="{FCCF4358-482B-4197-A09C-DA7FBF424FA9}" type="pres">
      <dgm:prSet presAssocID="{5D5CBE5E-5C7E-4A9F-8D4E-436EB55EB0D1}" presName="hierRoot2" presStyleCnt="0">
        <dgm:presLayoutVars>
          <dgm:hierBranch val="init"/>
        </dgm:presLayoutVars>
      </dgm:prSet>
      <dgm:spPr/>
    </dgm:pt>
    <dgm:pt modelId="{3002FBAD-1228-4156-82A7-9F4A079C128E}" type="pres">
      <dgm:prSet presAssocID="{5D5CBE5E-5C7E-4A9F-8D4E-436EB55EB0D1}" presName="rootComposite" presStyleCnt="0"/>
      <dgm:spPr/>
    </dgm:pt>
    <dgm:pt modelId="{E7B956C9-A977-43D9-8825-95C359E21D64}" type="pres">
      <dgm:prSet presAssocID="{5D5CBE5E-5C7E-4A9F-8D4E-436EB55EB0D1}" presName="rootText" presStyleLbl="node2" presStyleIdx="0" presStyleCnt="4">
        <dgm:presLayoutVars>
          <dgm:chPref val="3"/>
        </dgm:presLayoutVars>
      </dgm:prSet>
      <dgm:spPr/>
    </dgm:pt>
    <dgm:pt modelId="{DB4AB38C-8533-415D-A081-EEA5AB86F45C}" type="pres">
      <dgm:prSet presAssocID="{5D5CBE5E-5C7E-4A9F-8D4E-436EB55EB0D1}" presName="rootConnector" presStyleLbl="node2" presStyleIdx="0" presStyleCnt="4"/>
      <dgm:spPr/>
    </dgm:pt>
    <dgm:pt modelId="{0B079E26-E2E0-4409-B00D-AD799F2EAD8B}" type="pres">
      <dgm:prSet presAssocID="{5D5CBE5E-5C7E-4A9F-8D4E-436EB55EB0D1}" presName="hierChild4" presStyleCnt="0"/>
      <dgm:spPr/>
    </dgm:pt>
    <dgm:pt modelId="{20F5DFA7-965A-43E0-8F72-821FC510326E}" type="pres">
      <dgm:prSet presAssocID="{5D5CBE5E-5C7E-4A9F-8D4E-436EB55EB0D1}" presName="hierChild5" presStyleCnt="0"/>
      <dgm:spPr/>
    </dgm:pt>
    <dgm:pt modelId="{E5C30F1E-D2A2-4A0D-B47A-8BD8657F06B8}" type="pres">
      <dgm:prSet presAssocID="{145617F6-2641-46D7-80AB-5628F4BD1BBD}" presName="Name37" presStyleLbl="parChTrans1D2" presStyleIdx="1" presStyleCnt="4"/>
      <dgm:spPr/>
    </dgm:pt>
    <dgm:pt modelId="{B9572D0F-5B77-48BE-A40F-02FF28D6E619}" type="pres">
      <dgm:prSet presAssocID="{5B3B9FC7-7F69-4BD9-9B36-E953A0370A87}" presName="hierRoot2" presStyleCnt="0">
        <dgm:presLayoutVars>
          <dgm:hierBranch val="init"/>
        </dgm:presLayoutVars>
      </dgm:prSet>
      <dgm:spPr/>
    </dgm:pt>
    <dgm:pt modelId="{A00CB73B-F559-492A-BC7D-E4643C917EEA}" type="pres">
      <dgm:prSet presAssocID="{5B3B9FC7-7F69-4BD9-9B36-E953A0370A87}" presName="rootComposite" presStyleCnt="0"/>
      <dgm:spPr/>
    </dgm:pt>
    <dgm:pt modelId="{E6BF8D7B-10C7-41C4-B1C1-4B1D2FBC8D7A}" type="pres">
      <dgm:prSet presAssocID="{5B3B9FC7-7F69-4BD9-9B36-E953A0370A87}" presName="rootText" presStyleLbl="node2" presStyleIdx="1" presStyleCnt="4">
        <dgm:presLayoutVars>
          <dgm:chPref val="3"/>
        </dgm:presLayoutVars>
      </dgm:prSet>
      <dgm:spPr/>
    </dgm:pt>
    <dgm:pt modelId="{AA67C9CE-FD05-4F61-B229-710710244309}" type="pres">
      <dgm:prSet presAssocID="{5B3B9FC7-7F69-4BD9-9B36-E953A0370A87}" presName="rootConnector" presStyleLbl="node2" presStyleIdx="1" presStyleCnt="4"/>
      <dgm:spPr/>
    </dgm:pt>
    <dgm:pt modelId="{D6ADC71F-0D8F-4B07-BEAC-E301CB711F41}" type="pres">
      <dgm:prSet presAssocID="{5B3B9FC7-7F69-4BD9-9B36-E953A0370A87}" presName="hierChild4" presStyleCnt="0"/>
      <dgm:spPr/>
    </dgm:pt>
    <dgm:pt modelId="{6CC0FD04-ACAA-4772-AF17-B3606DD93AA5}" type="pres">
      <dgm:prSet presAssocID="{5B3B9FC7-7F69-4BD9-9B36-E953A0370A87}" presName="hierChild5" presStyleCnt="0"/>
      <dgm:spPr/>
    </dgm:pt>
    <dgm:pt modelId="{A2F57794-D230-420A-BC88-F5C25DD63EA6}" type="pres">
      <dgm:prSet presAssocID="{D29683EA-00B6-4564-9C21-E742F2CAF010}" presName="Name37" presStyleLbl="parChTrans1D2" presStyleIdx="2" presStyleCnt="4"/>
      <dgm:spPr/>
    </dgm:pt>
    <dgm:pt modelId="{917C34EE-5444-44FA-8DEE-853AE7A87BE2}" type="pres">
      <dgm:prSet presAssocID="{CE81E08F-254C-4B87-AF0A-D41791FD1FFA}" presName="hierRoot2" presStyleCnt="0">
        <dgm:presLayoutVars>
          <dgm:hierBranch val="init"/>
        </dgm:presLayoutVars>
      </dgm:prSet>
      <dgm:spPr/>
    </dgm:pt>
    <dgm:pt modelId="{C174F830-9A7B-4B38-8FB2-B93F5E6D2F5B}" type="pres">
      <dgm:prSet presAssocID="{CE81E08F-254C-4B87-AF0A-D41791FD1FFA}" presName="rootComposite" presStyleCnt="0"/>
      <dgm:spPr/>
    </dgm:pt>
    <dgm:pt modelId="{62780CFA-962B-43D2-9EDE-376A4B9E63FC}" type="pres">
      <dgm:prSet presAssocID="{CE81E08F-254C-4B87-AF0A-D41791FD1FFA}" presName="rootText" presStyleLbl="node2" presStyleIdx="2" presStyleCnt="4">
        <dgm:presLayoutVars>
          <dgm:chPref val="3"/>
        </dgm:presLayoutVars>
      </dgm:prSet>
      <dgm:spPr/>
    </dgm:pt>
    <dgm:pt modelId="{5723A12A-052D-4A4E-9C87-BBFAF631751C}" type="pres">
      <dgm:prSet presAssocID="{CE81E08F-254C-4B87-AF0A-D41791FD1FFA}" presName="rootConnector" presStyleLbl="node2" presStyleIdx="2" presStyleCnt="4"/>
      <dgm:spPr/>
    </dgm:pt>
    <dgm:pt modelId="{56B73BEC-C0C7-407D-9D03-B61E2AE310D7}" type="pres">
      <dgm:prSet presAssocID="{CE81E08F-254C-4B87-AF0A-D41791FD1FFA}" presName="hierChild4" presStyleCnt="0"/>
      <dgm:spPr/>
    </dgm:pt>
    <dgm:pt modelId="{156F59CC-9020-43CC-B19E-7D47A476C444}" type="pres">
      <dgm:prSet presAssocID="{CE81E08F-254C-4B87-AF0A-D41791FD1FFA}" presName="hierChild5" presStyleCnt="0"/>
      <dgm:spPr/>
    </dgm:pt>
    <dgm:pt modelId="{47C53712-E2BA-47D8-BB9A-39C214F3D65E}" type="pres">
      <dgm:prSet presAssocID="{E026F376-0B1A-43C8-9E95-F83C2659A657}" presName="Name37" presStyleLbl="parChTrans1D2" presStyleIdx="3" presStyleCnt="4"/>
      <dgm:spPr/>
    </dgm:pt>
    <dgm:pt modelId="{A9D93E1C-C525-44DB-B263-F56516AD8809}" type="pres">
      <dgm:prSet presAssocID="{6B6C3E6A-3CB8-4A4F-BAA3-CE7EFA0A810F}" presName="hierRoot2" presStyleCnt="0">
        <dgm:presLayoutVars>
          <dgm:hierBranch val="init"/>
        </dgm:presLayoutVars>
      </dgm:prSet>
      <dgm:spPr/>
    </dgm:pt>
    <dgm:pt modelId="{84B4A416-06C7-419D-8C7F-FAA2D9DC4C6D}" type="pres">
      <dgm:prSet presAssocID="{6B6C3E6A-3CB8-4A4F-BAA3-CE7EFA0A810F}" presName="rootComposite" presStyleCnt="0"/>
      <dgm:spPr/>
    </dgm:pt>
    <dgm:pt modelId="{4E6C7204-9A01-4428-8D2D-F6725C628472}" type="pres">
      <dgm:prSet presAssocID="{6B6C3E6A-3CB8-4A4F-BAA3-CE7EFA0A810F}" presName="rootText" presStyleLbl="node2" presStyleIdx="3" presStyleCnt="4">
        <dgm:presLayoutVars>
          <dgm:chPref val="3"/>
        </dgm:presLayoutVars>
      </dgm:prSet>
      <dgm:spPr/>
    </dgm:pt>
    <dgm:pt modelId="{8C71CBF9-35A5-4A99-B1CB-7A90B8E34597}" type="pres">
      <dgm:prSet presAssocID="{6B6C3E6A-3CB8-4A4F-BAA3-CE7EFA0A810F}" presName="rootConnector" presStyleLbl="node2" presStyleIdx="3" presStyleCnt="4"/>
      <dgm:spPr/>
    </dgm:pt>
    <dgm:pt modelId="{320F532B-2EFF-4993-8542-46562B45272E}" type="pres">
      <dgm:prSet presAssocID="{6B6C3E6A-3CB8-4A4F-BAA3-CE7EFA0A810F}" presName="hierChild4" presStyleCnt="0"/>
      <dgm:spPr/>
    </dgm:pt>
    <dgm:pt modelId="{A08F697F-DAEA-4CA2-A261-B6FEF7F64498}" type="pres">
      <dgm:prSet presAssocID="{6B6C3E6A-3CB8-4A4F-BAA3-CE7EFA0A810F}" presName="hierChild5" presStyleCnt="0"/>
      <dgm:spPr/>
    </dgm:pt>
    <dgm:pt modelId="{DE79A5B2-DC26-490B-9BDC-77820DA40BB6}" type="pres">
      <dgm:prSet presAssocID="{07F0B6C0-94C7-4306-8DEB-E4EA513AD766}" presName="hierChild3" presStyleCnt="0"/>
      <dgm:spPr/>
    </dgm:pt>
  </dgm:ptLst>
  <dgm:cxnLst>
    <dgm:cxn modelId="{14FE0000-C047-4029-9805-51C2E54519DF}" srcId="{E37EBAB9-4229-4CD0-9450-B50052018706}" destId="{07F0B6C0-94C7-4306-8DEB-E4EA513AD766}" srcOrd="0" destOrd="0" parTransId="{1B263A01-E126-4BBB-A3E3-5602B6D215C2}" sibTransId="{CBAF806F-6D10-4979-9167-D88D70FBB4A1}"/>
    <dgm:cxn modelId="{14CC0900-19F9-4F41-8D2C-93EF475012C7}" type="presOf" srcId="{5D5CBE5E-5C7E-4A9F-8D4E-436EB55EB0D1}" destId="{E7B956C9-A977-43D9-8825-95C359E21D64}" srcOrd="0" destOrd="0" presId="urn:microsoft.com/office/officeart/2005/8/layout/orgChart1"/>
    <dgm:cxn modelId="{B6C0B809-1840-486E-9434-176F4F0C2E85}" type="presOf" srcId="{CE81E08F-254C-4B87-AF0A-D41791FD1FFA}" destId="{62780CFA-962B-43D2-9EDE-376A4B9E63FC}" srcOrd="0" destOrd="0" presId="urn:microsoft.com/office/officeart/2005/8/layout/orgChart1"/>
    <dgm:cxn modelId="{FA2B200E-278B-4F03-A896-64915345F25B}" srcId="{07F0B6C0-94C7-4306-8DEB-E4EA513AD766}" destId="{6B6C3E6A-3CB8-4A4F-BAA3-CE7EFA0A810F}" srcOrd="3" destOrd="0" parTransId="{E026F376-0B1A-43C8-9E95-F83C2659A657}" sibTransId="{1048384A-49D9-45F2-B295-75B0763CF86F}"/>
    <dgm:cxn modelId="{A752C513-CC44-4EFB-A14F-0A81BFE86B6E}" type="presOf" srcId="{07F0B6C0-94C7-4306-8DEB-E4EA513AD766}" destId="{4991C410-9F1F-4D8B-B9E3-F4D9E0C320CC}" srcOrd="1" destOrd="0" presId="urn:microsoft.com/office/officeart/2005/8/layout/orgChart1"/>
    <dgm:cxn modelId="{6CF5CA22-88B2-40D5-9E41-79940C3677CB}" type="presOf" srcId="{E37EBAB9-4229-4CD0-9450-B50052018706}" destId="{42588DE3-BA20-4049-9F42-4EC7FAD16295}" srcOrd="0" destOrd="0" presId="urn:microsoft.com/office/officeart/2005/8/layout/orgChart1"/>
    <dgm:cxn modelId="{7D8A9227-B2F8-4935-B843-D552C1D61338}" type="presOf" srcId="{C5553471-9AC6-4891-8988-1E5DC4291FE5}" destId="{4261C2D5-16E4-4962-8408-8A550333DEA7}" srcOrd="0" destOrd="0" presId="urn:microsoft.com/office/officeart/2005/8/layout/orgChart1"/>
    <dgm:cxn modelId="{006E1436-4C2D-481E-BAAB-EE574538E774}" type="presOf" srcId="{D29683EA-00B6-4564-9C21-E742F2CAF010}" destId="{A2F57794-D230-420A-BC88-F5C25DD63EA6}" srcOrd="0" destOrd="0" presId="urn:microsoft.com/office/officeart/2005/8/layout/orgChart1"/>
    <dgm:cxn modelId="{423A4A3C-80FC-43CB-9FDE-A6CA8A12B136}" type="presOf" srcId="{E026F376-0B1A-43C8-9E95-F83C2659A657}" destId="{47C53712-E2BA-47D8-BB9A-39C214F3D65E}" srcOrd="0" destOrd="0" presId="urn:microsoft.com/office/officeart/2005/8/layout/orgChart1"/>
    <dgm:cxn modelId="{79420A50-9046-4190-8302-8D42B9F62F9B}" type="presOf" srcId="{5B3B9FC7-7F69-4BD9-9B36-E953A0370A87}" destId="{AA67C9CE-FD05-4F61-B229-710710244309}" srcOrd="1" destOrd="0" presId="urn:microsoft.com/office/officeart/2005/8/layout/orgChart1"/>
    <dgm:cxn modelId="{AA72C269-AE9E-4175-9166-BA505416FE34}" srcId="{07F0B6C0-94C7-4306-8DEB-E4EA513AD766}" destId="{5B3B9FC7-7F69-4BD9-9B36-E953A0370A87}" srcOrd="1" destOrd="0" parTransId="{145617F6-2641-46D7-80AB-5628F4BD1BBD}" sibTransId="{C3E5D671-E674-4D9A-BF80-D30398206062}"/>
    <dgm:cxn modelId="{AD13C96B-A174-426E-AA25-C64C4C24B5A1}" type="presOf" srcId="{145617F6-2641-46D7-80AB-5628F4BD1BBD}" destId="{E5C30F1E-D2A2-4A0D-B47A-8BD8657F06B8}" srcOrd="0" destOrd="0" presId="urn:microsoft.com/office/officeart/2005/8/layout/orgChart1"/>
    <dgm:cxn modelId="{1A28396C-3A01-44D1-8A56-AC5D495DCC09}" type="presOf" srcId="{5B3B9FC7-7F69-4BD9-9B36-E953A0370A87}" destId="{E6BF8D7B-10C7-41C4-B1C1-4B1D2FBC8D7A}" srcOrd="0" destOrd="0" presId="urn:microsoft.com/office/officeart/2005/8/layout/orgChart1"/>
    <dgm:cxn modelId="{B477226F-F7AF-49D9-A8DA-B46AECAFF4CF}" srcId="{07F0B6C0-94C7-4306-8DEB-E4EA513AD766}" destId="{5D5CBE5E-5C7E-4A9F-8D4E-436EB55EB0D1}" srcOrd="0" destOrd="0" parTransId="{C5553471-9AC6-4891-8988-1E5DC4291FE5}" sibTransId="{C06BB86A-4800-4CB5-89F5-93FCCF0869EC}"/>
    <dgm:cxn modelId="{766FDD89-7C45-4EAA-8F5A-DEB33B65EC25}" type="presOf" srcId="{07F0B6C0-94C7-4306-8DEB-E4EA513AD766}" destId="{C6E485F7-2796-49B4-8E01-B0197CF64EFE}" srcOrd="0" destOrd="0" presId="urn:microsoft.com/office/officeart/2005/8/layout/orgChart1"/>
    <dgm:cxn modelId="{4EA308A6-665F-4D6E-8489-02F00717CDA8}" srcId="{07F0B6C0-94C7-4306-8DEB-E4EA513AD766}" destId="{CE81E08F-254C-4B87-AF0A-D41791FD1FFA}" srcOrd="2" destOrd="0" parTransId="{D29683EA-00B6-4564-9C21-E742F2CAF010}" sibTransId="{DD8CFCD1-87FC-4CBB-9739-A25AE3A3AC0F}"/>
    <dgm:cxn modelId="{2B5F3AA8-B753-4C81-BC63-6FFD024F4619}" type="presOf" srcId="{6B6C3E6A-3CB8-4A4F-BAA3-CE7EFA0A810F}" destId="{4E6C7204-9A01-4428-8D2D-F6725C628472}" srcOrd="0" destOrd="0" presId="urn:microsoft.com/office/officeart/2005/8/layout/orgChart1"/>
    <dgm:cxn modelId="{A84642B8-FE20-4246-9884-5E52613D0D53}" type="presOf" srcId="{CE81E08F-254C-4B87-AF0A-D41791FD1FFA}" destId="{5723A12A-052D-4A4E-9C87-BBFAF631751C}" srcOrd="1" destOrd="0" presId="urn:microsoft.com/office/officeart/2005/8/layout/orgChart1"/>
    <dgm:cxn modelId="{674D86C4-C177-42ED-8B64-C5434DD37D72}" type="presOf" srcId="{5D5CBE5E-5C7E-4A9F-8D4E-436EB55EB0D1}" destId="{DB4AB38C-8533-415D-A081-EEA5AB86F45C}" srcOrd="1" destOrd="0" presId="urn:microsoft.com/office/officeart/2005/8/layout/orgChart1"/>
    <dgm:cxn modelId="{9FA943D1-CBF2-4E03-82B7-5F0EED1F9F45}" type="presOf" srcId="{6B6C3E6A-3CB8-4A4F-BAA3-CE7EFA0A810F}" destId="{8C71CBF9-35A5-4A99-B1CB-7A90B8E34597}" srcOrd="1" destOrd="0" presId="urn:microsoft.com/office/officeart/2005/8/layout/orgChart1"/>
    <dgm:cxn modelId="{AB9693AC-CE88-4E0D-B592-B42128658CD4}" type="presParOf" srcId="{42588DE3-BA20-4049-9F42-4EC7FAD16295}" destId="{FCF6AA6F-0AD2-4F37-83D9-9D4228205CA9}" srcOrd="0" destOrd="0" presId="urn:microsoft.com/office/officeart/2005/8/layout/orgChart1"/>
    <dgm:cxn modelId="{F0321466-BC29-40B7-9F06-FB717E3E7B80}" type="presParOf" srcId="{FCF6AA6F-0AD2-4F37-83D9-9D4228205CA9}" destId="{12E93D51-97FC-4C21-8BD0-E5771CB35532}" srcOrd="0" destOrd="0" presId="urn:microsoft.com/office/officeart/2005/8/layout/orgChart1"/>
    <dgm:cxn modelId="{3657FBEB-1875-46FC-ABAE-EDED2E7F199A}" type="presParOf" srcId="{12E93D51-97FC-4C21-8BD0-E5771CB35532}" destId="{C6E485F7-2796-49B4-8E01-B0197CF64EFE}" srcOrd="0" destOrd="0" presId="urn:microsoft.com/office/officeart/2005/8/layout/orgChart1"/>
    <dgm:cxn modelId="{685B8763-A32B-4F86-9233-CFE137E1AF0B}" type="presParOf" srcId="{12E93D51-97FC-4C21-8BD0-E5771CB35532}" destId="{4991C410-9F1F-4D8B-B9E3-F4D9E0C320CC}" srcOrd="1" destOrd="0" presId="urn:microsoft.com/office/officeart/2005/8/layout/orgChart1"/>
    <dgm:cxn modelId="{A5BDCFE8-7DA3-4C49-8EA0-9EE4AFE2FCC5}" type="presParOf" srcId="{FCF6AA6F-0AD2-4F37-83D9-9D4228205CA9}" destId="{B38DDD13-B08B-4CDC-A86D-0BC62B405A8D}" srcOrd="1" destOrd="0" presId="urn:microsoft.com/office/officeart/2005/8/layout/orgChart1"/>
    <dgm:cxn modelId="{88D6A498-F430-4C5D-BAE7-7B137B2F8474}" type="presParOf" srcId="{B38DDD13-B08B-4CDC-A86D-0BC62B405A8D}" destId="{4261C2D5-16E4-4962-8408-8A550333DEA7}" srcOrd="0" destOrd="0" presId="urn:microsoft.com/office/officeart/2005/8/layout/orgChart1"/>
    <dgm:cxn modelId="{E136DA1D-B2FC-49BC-8CA7-B9196A159673}" type="presParOf" srcId="{B38DDD13-B08B-4CDC-A86D-0BC62B405A8D}" destId="{FCCF4358-482B-4197-A09C-DA7FBF424FA9}" srcOrd="1" destOrd="0" presId="urn:microsoft.com/office/officeart/2005/8/layout/orgChart1"/>
    <dgm:cxn modelId="{CFF79AA8-3B5C-4F24-9A39-22084FBB4D2D}" type="presParOf" srcId="{FCCF4358-482B-4197-A09C-DA7FBF424FA9}" destId="{3002FBAD-1228-4156-82A7-9F4A079C128E}" srcOrd="0" destOrd="0" presId="urn:microsoft.com/office/officeart/2005/8/layout/orgChart1"/>
    <dgm:cxn modelId="{EA4CE0D4-76A9-4E87-9889-027C5C4605FC}" type="presParOf" srcId="{3002FBAD-1228-4156-82A7-9F4A079C128E}" destId="{E7B956C9-A977-43D9-8825-95C359E21D64}" srcOrd="0" destOrd="0" presId="urn:microsoft.com/office/officeart/2005/8/layout/orgChart1"/>
    <dgm:cxn modelId="{D71F8792-F8DA-43D0-B7AD-A0EBC572304E}" type="presParOf" srcId="{3002FBAD-1228-4156-82A7-9F4A079C128E}" destId="{DB4AB38C-8533-415D-A081-EEA5AB86F45C}" srcOrd="1" destOrd="0" presId="urn:microsoft.com/office/officeart/2005/8/layout/orgChart1"/>
    <dgm:cxn modelId="{2910CBB5-9975-4308-A727-E0285256B2B9}" type="presParOf" srcId="{FCCF4358-482B-4197-A09C-DA7FBF424FA9}" destId="{0B079E26-E2E0-4409-B00D-AD799F2EAD8B}" srcOrd="1" destOrd="0" presId="urn:microsoft.com/office/officeart/2005/8/layout/orgChart1"/>
    <dgm:cxn modelId="{5E71301C-FA31-44E7-B2DF-3CE4EDB60D4A}" type="presParOf" srcId="{FCCF4358-482B-4197-A09C-DA7FBF424FA9}" destId="{20F5DFA7-965A-43E0-8F72-821FC510326E}" srcOrd="2" destOrd="0" presId="urn:microsoft.com/office/officeart/2005/8/layout/orgChart1"/>
    <dgm:cxn modelId="{DA10DF81-4042-4A62-94F6-EF80FF14C742}" type="presParOf" srcId="{B38DDD13-B08B-4CDC-A86D-0BC62B405A8D}" destId="{E5C30F1E-D2A2-4A0D-B47A-8BD8657F06B8}" srcOrd="2" destOrd="0" presId="urn:microsoft.com/office/officeart/2005/8/layout/orgChart1"/>
    <dgm:cxn modelId="{E17AB6DD-1D5D-4CA3-B135-4417BE8CBA4A}" type="presParOf" srcId="{B38DDD13-B08B-4CDC-A86D-0BC62B405A8D}" destId="{B9572D0F-5B77-48BE-A40F-02FF28D6E619}" srcOrd="3" destOrd="0" presId="urn:microsoft.com/office/officeart/2005/8/layout/orgChart1"/>
    <dgm:cxn modelId="{C219C38F-E2B5-4BDF-BEFA-E4FFF665A01A}" type="presParOf" srcId="{B9572D0F-5B77-48BE-A40F-02FF28D6E619}" destId="{A00CB73B-F559-492A-BC7D-E4643C917EEA}" srcOrd="0" destOrd="0" presId="urn:microsoft.com/office/officeart/2005/8/layout/orgChart1"/>
    <dgm:cxn modelId="{AD27C1BA-FF1F-4C7C-BADD-4EFA0B17EBA2}" type="presParOf" srcId="{A00CB73B-F559-492A-BC7D-E4643C917EEA}" destId="{E6BF8D7B-10C7-41C4-B1C1-4B1D2FBC8D7A}" srcOrd="0" destOrd="0" presId="urn:microsoft.com/office/officeart/2005/8/layout/orgChart1"/>
    <dgm:cxn modelId="{0E4DE159-1427-4174-B4FD-17A7959908E5}" type="presParOf" srcId="{A00CB73B-F559-492A-BC7D-E4643C917EEA}" destId="{AA67C9CE-FD05-4F61-B229-710710244309}" srcOrd="1" destOrd="0" presId="urn:microsoft.com/office/officeart/2005/8/layout/orgChart1"/>
    <dgm:cxn modelId="{1377BA6A-7ADD-4DDC-8140-6627BB1080FC}" type="presParOf" srcId="{B9572D0F-5B77-48BE-A40F-02FF28D6E619}" destId="{D6ADC71F-0D8F-4B07-BEAC-E301CB711F41}" srcOrd="1" destOrd="0" presId="urn:microsoft.com/office/officeart/2005/8/layout/orgChart1"/>
    <dgm:cxn modelId="{A4C8F2B8-57BC-4BFC-A3AB-CD16FD5C95C2}" type="presParOf" srcId="{B9572D0F-5B77-48BE-A40F-02FF28D6E619}" destId="{6CC0FD04-ACAA-4772-AF17-B3606DD93AA5}" srcOrd="2" destOrd="0" presId="urn:microsoft.com/office/officeart/2005/8/layout/orgChart1"/>
    <dgm:cxn modelId="{E581E8A0-3514-4E67-BC93-A83411CD12A7}" type="presParOf" srcId="{B38DDD13-B08B-4CDC-A86D-0BC62B405A8D}" destId="{A2F57794-D230-420A-BC88-F5C25DD63EA6}" srcOrd="4" destOrd="0" presId="urn:microsoft.com/office/officeart/2005/8/layout/orgChart1"/>
    <dgm:cxn modelId="{E76CD769-2A5E-480F-8D30-0553E9F5681C}" type="presParOf" srcId="{B38DDD13-B08B-4CDC-A86D-0BC62B405A8D}" destId="{917C34EE-5444-44FA-8DEE-853AE7A87BE2}" srcOrd="5" destOrd="0" presId="urn:microsoft.com/office/officeart/2005/8/layout/orgChart1"/>
    <dgm:cxn modelId="{10D9FFA6-0604-4326-9CF5-E9FD4AE104A6}" type="presParOf" srcId="{917C34EE-5444-44FA-8DEE-853AE7A87BE2}" destId="{C174F830-9A7B-4B38-8FB2-B93F5E6D2F5B}" srcOrd="0" destOrd="0" presId="urn:microsoft.com/office/officeart/2005/8/layout/orgChart1"/>
    <dgm:cxn modelId="{7C65EF07-4533-4E45-B945-5D48FC37AEA9}" type="presParOf" srcId="{C174F830-9A7B-4B38-8FB2-B93F5E6D2F5B}" destId="{62780CFA-962B-43D2-9EDE-376A4B9E63FC}" srcOrd="0" destOrd="0" presId="urn:microsoft.com/office/officeart/2005/8/layout/orgChart1"/>
    <dgm:cxn modelId="{0BF27D8E-9EB7-4AF7-A195-BE60D1EF5B55}" type="presParOf" srcId="{C174F830-9A7B-4B38-8FB2-B93F5E6D2F5B}" destId="{5723A12A-052D-4A4E-9C87-BBFAF631751C}" srcOrd="1" destOrd="0" presId="urn:microsoft.com/office/officeart/2005/8/layout/orgChart1"/>
    <dgm:cxn modelId="{8A9B1746-7C7B-4BE9-9B8D-A9E189018EE8}" type="presParOf" srcId="{917C34EE-5444-44FA-8DEE-853AE7A87BE2}" destId="{56B73BEC-C0C7-407D-9D03-B61E2AE310D7}" srcOrd="1" destOrd="0" presId="urn:microsoft.com/office/officeart/2005/8/layout/orgChart1"/>
    <dgm:cxn modelId="{1CEE5427-36B7-42ED-869A-99A98BDB5361}" type="presParOf" srcId="{917C34EE-5444-44FA-8DEE-853AE7A87BE2}" destId="{156F59CC-9020-43CC-B19E-7D47A476C444}" srcOrd="2" destOrd="0" presId="urn:microsoft.com/office/officeart/2005/8/layout/orgChart1"/>
    <dgm:cxn modelId="{7B2F5418-D32C-4030-8A30-55678B052447}" type="presParOf" srcId="{B38DDD13-B08B-4CDC-A86D-0BC62B405A8D}" destId="{47C53712-E2BA-47D8-BB9A-39C214F3D65E}" srcOrd="6" destOrd="0" presId="urn:microsoft.com/office/officeart/2005/8/layout/orgChart1"/>
    <dgm:cxn modelId="{B6056DEE-709F-4A5D-BA86-22A08E20D1DE}" type="presParOf" srcId="{B38DDD13-B08B-4CDC-A86D-0BC62B405A8D}" destId="{A9D93E1C-C525-44DB-B263-F56516AD8809}" srcOrd="7" destOrd="0" presId="urn:microsoft.com/office/officeart/2005/8/layout/orgChart1"/>
    <dgm:cxn modelId="{6FFA09A9-A59D-4EDD-B886-208FC2875CC6}" type="presParOf" srcId="{A9D93E1C-C525-44DB-B263-F56516AD8809}" destId="{84B4A416-06C7-419D-8C7F-FAA2D9DC4C6D}" srcOrd="0" destOrd="0" presId="urn:microsoft.com/office/officeart/2005/8/layout/orgChart1"/>
    <dgm:cxn modelId="{E414B50A-E61F-4D7A-9289-89A9CCE9C846}" type="presParOf" srcId="{84B4A416-06C7-419D-8C7F-FAA2D9DC4C6D}" destId="{4E6C7204-9A01-4428-8D2D-F6725C628472}" srcOrd="0" destOrd="0" presId="urn:microsoft.com/office/officeart/2005/8/layout/orgChart1"/>
    <dgm:cxn modelId="{751DC3A3-AB16-48F1-BB20-6B75719B984F}" type="presParOf" srcId="{84B4A416-06C7-419D-8C7F-FAA2D9DC4C6D}" destId="{8C71CBF9-35A5-4A99-B1CB-7A90B8E34597}" srcOrd="1" destOrd="0" presId="urn:microsoft.com/office/officeart/2005/8/layout/orgChart1"/>
    <dgm:cxn modelId="{04D1ADCF-14EB-41B8-8154-ED7D1647D598}" type="presParOf" srcId="{A9D93E1C-C525-44DB-B263-F56516AD8809}" destId="{320F532B-2EFF-4993-8542-46562B45272E}" srcOrd="1" destOrd="0" presId="urn:microsoft.com/office/officeart/2005/8/layout/orgChart1"/>
    <dgm:cxn modelId="{884A02D9-48C9-4188-B0D7-5B2B698A2A94}" type="presParOf" srcId="{A9D93E1C-C525-44DB-B263-F56516AD8809}" destId="{A08F697F-DAEA-4CA2-A261-B6FEF7F64498}" srcOrd="2" destOrd="0" presId="urn:microsoft.com/office/officeart/2005/8/layout/orgChart1"/>
    <dgm:cxn modelId="{6EB13AF8-AFB2-4C39-83D0-FACF2BA1842B}" type="presParOf" srcId="{FCF6AA6F-0AD2-4F37-83D9-9D4228205CA9}" destId="{DE79A5B2-DC26-490B-9BDC-77820DA40BB6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C53712-E2BA-47D8-BB9A-39C214F3D65E}">
      <dsp:nvSpPr>
        <dsp:cNvPr id="0" name=""/>
        <dsp:cNvSpPr/>
      </dsp:nvSpPr>
      <dsp:spPr>
        <a:xfrm>
          <a:off x="1204751" y="776509"/>
          <a:ext cx="1003741" cy="118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309"/>
              </a:lnTo>
              <a:lnTo>
                <a:pt x="1003741" y="62309"/>
              </a:lnTo>
              <a:lnTo>
                <a:pt x="1003741" y="11842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F57794-D230-420A-BC88-F5C25DD63EA6}">
      <dsp:nvSpPr>
        <dsp:cNvPr id="0" name=""/>
        <dsp:cNvSpPr/>
      </dsp:nvSpPr>
      <dsp:spPr>
        <a:xfrm>
          <a:off x="1204751" y="776509"/>
          <a:ext cx="357076" cy="118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2309"/>
              </a:lnTo>
              <a:lnTo>
                <a:pt x="357076" y="62309"/>
              </a:lnTo>
              <a:lnTo>
                <a:pt x="357076" y="11842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C30F1E-D2A2-4A0D-B47A-8BD8657F06B8}">
      <dsp:nvSpPr>
        <dsp:cNvPr id="0" name=""/>
        <dsp:cNvSpPr/>
      </dsp:nvSpPr>
      <dsp:spPr>
        <a:xfrm>
          <a:off x="915163" y="776509"/>
          <a:ext cx="289588" cy="118425"/>
        </a:xfrm>
        <a:custGeom>
          <a:avLst/>
          <a:gdLst/>
          <a:ahLst/>
          <a:cxnLst/>
          <a:rect l="0" t="0" r="0" b="0"/>
          <a:pathLst>
            <a:path>
              <a:moveTo>
                <a:pt x="289588" y="0"/>
              </a:moveTo>
              <a:lnTo>
                <a:pt x="289588" y="62309"/>
              </a:lnTo>
              <a:lnTo>
                <a:pt x="0" y="62309"/>
              </a:lnTo>
              <a:lnTo>
                <a:pt x="0" y="11842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61C2D5-16E4-4962-8408-8A550333DEA7}">
      <dsp:nvSpPr>
        <dsp:cNvPr id="0" name=""/>
        <dsp:cNvSpPr/>
      </dsp:nvSpPr>
      <dsp:spPr>
        <a:xfrm>
          <a:off x="268498" y="776509"/>
          <a:ext cx="936253" cy="118425"/>
        </a:xfrm>
        <a:custGeom>
          <a:avLst/>
          <a:gdLst/>
          <a:ahLst/>
          <a:cxnLst/>
          <a:rect l="0" t="0" r="0" b="0"/>
          <a:pathLst>
            <a:path>
              <a:moveTo>
                <a:pt x="936253" y="0"/>
              </a:moveTo>
              <a:lnTo>
                <a:pt x="936253" y="62309"/>
              </a:lnTo>
              <a:lnTo>
                <a:pt x="0" y="62309"/>
              </a:lnTo>
              <a:lnTo>
                <a:pt x="0" y="11842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E485F7-2796-49B4-8E01-B0197CF64EFE}">
      <dsp:nvSpPr>
        <dsp:cNvPr id="0" name=""/>
        <dsp:cNvSpPr/>
      </dsp:nvSpPr>
      <dsp:spPr>
        <a:xfrm>
          <a:off x="539926" y="519227"/>
          <a:ext cx="1329649" cy="25728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MC Authenticator</a:t>
          </a:r>
        </a:p>
      </dsp:txBody>
      <dsp:txXfrm>
        <a:off x="539926" y="519227"/>
        <a:ext cx="1329649" cy="257281"/>
      </dsp:txXfrm>
    </dsp:sp>
    <dsp:sp modelId="{E7B956C9-A977-43D9-8825-95C359E21D64}">
      <dsp:nvSpPr>
        <dsp:cNvPr id="0" name=""/>
        <dsp:cNvSpPr/>
      </dsp:nvSpPr>
      <dsp:spPr>
        <a:xfrm>
          <a:off x="1281" y="894934"/>
          <a:ext cx="534433" cy="26721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 err="1"/>
            <a:t>Turkcell</a:t>
          </a:r>
          <a:r>
            <a:rPr lang="en-US" sz="900" kern="1200" dirty="0"/>
            <a:t> 1</a:t>
          </a:r>
        </a:p>
      </dsp:txBody>
      <dsp:txXfrm>
        <a:off x="1281" y="894934"/>
        <a:ext cx="534433" cy="267216"/>
      </dsp:txXfrm>
    </dsp:sp>
    <dsp:sp modelId="{E6BF8D7B-10C7-41C4-B1C1-4B1D2FBC8D7A}">
      <dsp:nvSpPr>
        <dsp:cNvPr id="0" name=""/>
        <dsp:cNvSpPr/>
      </dsp:nvSpPr>
      <dsp:spPr>
        <a:xfrm>
          <a:off x="647946" y="894934"/>
          <a:ext cx="534433" cy="26721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 err="1"/>
            <a:t>Turkcell</a:t>
          </a:r>
          <a:r>
            <a:rPr lang="en-US" sz="900" kern="1200" dirty="0"/>
            <a:t> 2</a:t>
          </a:r>
        </a:p>
      </dsp:txBody>
      <dsp:txXfrm>
        <a:off x="647946" y="894934"/>
        <a:ext cx="534433" cy="267216"/>
      </dsp:txXfrm>
    </dsp:sp>
    <dsp:sp modelId="{62780CFA-962B-43D2-9EDE-376A4B9E63FC}">
      <dsp:nvSpPr>
        <dsp:cNvPr id="0" name=""/>
        <dsp:cNvSpPr/>
      </dsp:nvSpPr>
      <dsp:spPr>
        <a:xfrm>
          <a:off x="1294611" y="894934"/>
          <a:ext cx="534433" cy="26721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 err="1"/>
            <a:t>Turkcell</a:t>
          </a:r>
          <a:r>
            <a:rPr lang="en-US" sz="900" kern="1200" dirty="0"/>
            <a:t> 3</a:t>
          </a:r>
        </a:p>
      </dsp:txBody>
      <dsp:txXfrm>
        <a:off x="1294611" y="894934"/>
        <a:ext cx="534433" cy="267216"/>
      </dsp:txXfrm>
    </dsp:sp>
    <dsp:sp modelId="{4E6C7204-9A01-4428-8D2D-F6725C628472}">
      <dsp:nvSpPr>
        <dsp:cNvPr id="0" name=""/>
        <dsp:cNvSpPr/>
      </dsp:nvSpPr>
      <dsp:spPr>
        <a:xfrm>
          <a:off x="1941275" y="894934"/>
          <a:ext cx="534433" cy="26721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3</a:t>
          </a:r>
          <a:r>
            <a:rPr lang="en-US" sz="900" kern="1200" baseline="30000" dirty="0"/>
            <a:t>rd</a:t>
          </a:r>
          <a:r>
            <a:rPr lang="en-US" sz="900" kern="1200" dirty="0"/>
            <a:t> party</a:t>
          </a:r>
        </a:p>
      </dsp:txBody>
      <dsp:txXfrm>
        <a:off x="1941275" y="894934"/>
        <a:ext cx="534433" cy="2672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0E4090-F07B-473B-B97D-EE7D61C6B9EE}" type="datetimeFigureOut">
              <a:rPr lang="en-ZA" smtClean="0"/>
              <a:t>2019/07/24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52DB23-E148-4DA9-B1BF-0C0C81E86E0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6466607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42508D-DFC3-4959-A3B8-CF01D06227B5}" type="datetimeFigureOut">
              <a:rPr lang="en-ZA" smtClean="0"/>
              <a:t>2019/07/24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026F95-6645-4D84-B47C-E7B4E1A6F54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513132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dirty="0"/>
              <a:t>Proving identity is a critical part of digital commerce</a:t>
            </a:r>
          </a:p>
          <a:p>
            <a:pPr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dirty="0"/>
              <a:t>MNOs are well placed to leverage their assets and create propositions that can add value to the ecosystem</a:t>
            </a:r>
          </a:p>
          <a:p>
            <a:pPr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dirty="0"/>
              <a:t>An increasing number are recognising this and engaging in developing and deploying solutions using Mobile Connect </a:t>
            </a:r>
          </a:p>
          <a:p>
            <a:pPr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dirty="0"/>
              <a:t>This includes: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dirty="0"/>
              <a:t>Authentication – log in- multiple deployments across the globe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dirty="0"/>
              <a:t>Attributes - use of data as an input into a decision making process e.g. account opening - UK,  Spain 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dirty="0"/>
              <a:t>Mobile number verification - a key piece of data - interesting to a number of global service providers </a:t>
            </a:r>
          </a:p>
          <a:p>
            <a:pPr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GB" dirty="0"/>
              <a:t>2019 plan is to continue to support the development of these propositions working with all partners in the ecosystem to deliver strong solutions </a:t>
            </a:r>
          </a:p>
          <a:p>
            <a:endParaRPr lang="en-GB" dirty="0"/>
          </a:p>
          <a:p>
            <a:r>
              <a:rPr lang="en-GB" dirty="0"/>
              <a:t>30% of all log-ins to </a:t>
            </a:r>
            <a:r>
              <a:rPr lang="en-GB" dirty="0" err="1"/>
              <a:t>Turkcell’s</a:t>
            </a:r>
            <a:r>
              <a:rPr lang="en-GB" dirty="0"/>
              <a:t> web self-care</a:t>
            </a:r>
            <a:r>
              <a:rPr lang="en-GB" baseline="0" dirty="0"/>
              <a:t> portal is done using Mobile Connect </a:t>
            </a:r>
          </a:p>
          <a:p>
            <a:r>
              <a:rPr lang="en-GB" baseline="0" dirty="0"/>
              <a:t>27% net promoter score (Orange Spain)</a:t>
            </a:r>
          </a:p>
          <a:p>
            <a:r>
              <a:rPr lang="en-GB" baseline="0" dirty="0"/>
              <a:t>82% of users satisfied (46% very satisfied)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/>
              <a:t>3</a:t>
            </a:r>
            <a:r>
              <a:rPr lang="en-GB" sz="1200" baseline="30000" dirty="0"/>
              <a:t>rd</a:t>
            </a:r>
            <a:r>
              <a:rPr lang="en-GB" sz="1200" dirty="0"/>
              <a:t> most important reason to chose a mobile operator – </a:t>
            </a:r>
            <a:r>
              <a:rPr lang="en-GB" sz="1200" b="1" dirty="0"/>
              <a:t>88% </a:t>
            </a:r>
            <a:r>
              <a:rPr lang="en-GB" sz="1050" dirty="0"/>
              <a:t>(Telenor Norway)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050" b="1" dirty="0"/>
              <a:t>10-12x</a:t>
            </a:r>
            <a:r>
              <a:rPr lang="en-GB" sz="1050" dirty="0"/>
              <a:t> transactions per month </a:t>
            </a:r>
            <a:r>
              <a:rPr lang="en-GB" sz="900" dirty="0"/>
              <a:t>(Norway, Finland, Korea)</a:t>
            </a:r>
          </a:p>
          <a:p>
            <a:pPr marL="0" indent="0">
              <a:spcAft>
                <a:spcPts val="600"/>
              </a:spcAft>
              <a:buFont typeface="Arial" charset="0"/>
              <a:buNone/>
            </a:pPr>
            <a:r>
              <a:rPr lang="en-GB" sz="1050" b="1" dirty="0"/>
              <a:t>92% </a:t>
            </a:r>
            <a:r>
              <a:rPr lang="en-GB" sz="1050" dirty="0"/>
              <a:t>of active users perceive Mobile Connect as a useful solution </a:t>
            </a:r>
            <a:r>
              <a:rPr lang="en-GB" sz="900" dirty="0"/>
              <a:t>(Orange Spain)</a:t>
            </a:r>
          </a:p>
          <a:p>
            <a:pPr marL="0" indent="0">
              <a:spcAft>
                <a:spcPts val="600"/>
              </a:spcAft>
              <a:buFont typeface="Arial" charset="0"/>
              <a:buNone/>
            </a:pPr>
            <a:r>
              <a:rPr lang="en-GB" sz="1050" b="1" dirty="0"/>
              <a:t>97%</a:t>
            </a:r>
            <a:r>
              <a:rPr lang="en-GB" sz="1050" dirty="0"/>
              <a:t> said that it worked well and they would use it again </a:t>
            </a:r>
            <a:r>
              <a:rPr lang="en-GB" sz="900" dirty="0"/>
              <a:t>(</a:t>
            </a:r>
            <a:r>
              <a:rPr lang="en-GB" sz="900" dirty="0" err="1"/>
              <a:t>Turkcell</a:t>
            </a:r>
            <a:r>
              <a:rPr lang="en-GB" sz="900" dirty="0"/>
              <a:t>)</a:t>
            </a:r>
          </a:p>
          <a:p>
            <a:pPr marL="0" indent="0">
              <a:spcAft>
                <a:spcPts val="600"/>
              </a:spcAft>
              <a:buFont typeface="Arial" charset="0"/>
              <a:buNone/>
            </a:pPr>
            <a:r>
              <a:rPr lang="en-GB" sz="1050" b="1" dirty="0"/>
              <a:t>Very fast on header enrichment </a:t>
            </a:r>
            <a:r>
              <a:rPr lang="en-GB" sz="1050" dirty="0"/>
              <a:t>– better than SMS OTP </a:t>
            </a:r>
            <a:r>
              <a:rPr lang="en-GB" sz="900" dirty="0"/>
              <a:t>(India)</a:t>
            </a:r>
          </a:p>
          <a:p>
            <a:pPr marL="0" indent="0">
              <a:spcAft>
                <a:spcPts val="600"/>
              </a:spcAft>
              <a:buFont typeface="Arial" charset="0"/>
              <a:buNone/>
            </a:pPr>
            <a:r>
              <a:rPr lang="en-GB" sz="900" b="1" dirty="0"/>
              <a:t>75%</a:t>
            </a:r>
            <a:r>
              <a:rPr lang="en-GB" sz="900" dirty="0"/>
              <a:t> prefer Mobile Connect to passwords (10%) </a:t>
            </a:r>
            <a:r>
              <a:rPr lang="en-GB" sz="800" dirty="0"/>
              <a:t>(Orange Spain)</a:t>
            </a:r>
          </a:p>
          <a:p>
            <a:pPr marL="0" indent="0">
              <a:spcAft>
                <a:spcPts val="600"/>
              </a:spcAft>
              <a:buFont typeface="Arial" charset="0"/>
              <a:buNone/>
            </a:pPr>
            <a:r>
              <a:rPr lang="en-GB" sz="900" b="1" dirty="0"/>
              <a:t>Proven willingness to pay </a:t>
            </a:r>
            <a:r>
              <a:rPr lang="en-GB" sz="800" dirty="0"/>
              <a:t>(Norway, Estonia, Finland)</a:t>
            </a:r>
          </a:p>
          <a:p>
            <a:pPr marL="0" lvl="0" indent="0">
              <a:spcAft>
                <a:spcPts val="600"/>
              </a:spcAft>
              <a:buFont typeface="Arial" charset="0"/>
              <a:buNone/>
            </a:pPr>
            <a:r>
              <a:rPr lang="en-GB" sz="900" b="1" dirty="0">
                <a:solidFill>
                  <a:srgbClr val="000000"/>
                </a:solidFill>
                <a:latin typeface="Arial"/>
              </a:rPr>
              <a:t>Privacy</a:t>
            </a:r>
            <a:r>
              <a:rPr lang="en-GB" sz="900" dirty="0">
                <a:solidFill>
                  <a:srgbClr val="000000"/>
                </a:solidFill>
                <a:latin typeface="Arial"/>
              </a:rPr>
              <a:t> protection is important for money-related services </a:t>
            </a:r>
            <a:r>
              <a:rPr lang="en-GB" sz="800" dirty="0"/>
              <a:t>(India)</a:t>
            </a:r>
          </a:p>
          <a:p>
            <a:pPr marL="0" indent="0">
              <a:spcAft>
                <a:spcPts val="600"/>
              </a:spcAft>
              <a:buFont typeface="Arial" charset="0"/>
              <a:buNone/>
            </a:pPr>
            <a:endParaRPr lang="en-GB" sz="900" dirty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050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22982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sights </a:t>
            </a:r>
            <a:r>
              <a:rPr lang="en-GB" baseline="0" dirty="0"/>
              <a:t>– </a:t>
            </a:r>
          </a:p>
          <a:p>
            <a:r>
              <a:rPr lang="en-GB" baseline="0" dirty="0"/>
              <a:t>About the user, device or transactions </a:t>
            </a:r>
          </a:p>
          <a:p>
            <a:r>
              <a:rPr lang="en-GB" baseline="0" dirty="0"/>
              <a:t>Country check, verification of customer information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52394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" name="Shape 915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916" name="Shape 916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>
            <a:lvl1pPr defTabSz="429128">
              <a:defRPr sz="1500"/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682115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jpe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jpe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jpe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jpe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jpe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jpe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jpe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jpe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205136" y="1347614"/>
            <a:ext cx="7399312" cy="31683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546436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Ba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422895" y="2025030"/>
            <a:ext cx="2362200" cy="226695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422895" y="1491630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3361928" y="2025030"/>
            <a:ext cx="2362200" cy="226695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6324600" y="2034555"/>
            <a:ext cx="2362200" cy="226695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3361928" y="1491630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6324600" y="1501155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3059832" y="1841361"/>
            <a:ext cx="0" cy="17526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6012160" y="1850886"/>
            <a:ext cx="0" cy="17526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3822742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Fotoğraf - Yat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örüntü"/>
          <p:cNvSpPr>
            <a:spLocks noGrp="1"/>
          </p:cNvSpPr>
          <p:nvPr>
            <p:ph type="pic" idx="13"/>
          </p:nvPr>
        </p:nvSpPr>
        <p:spPr>
          <a:xfrm>
            <a:off x="1222250" y="252845"/>
            <a:ext cx="6702067" cy="328220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58" name="Başlık Metni"/>
          <p:cNvSpPr txBox="1">
            <a:spLocks noGrp="1"/>
          </p:cNvSpPr>
          <p:nvPr>
            <p:ph type="title"/>
          </p:nvPr>
        </p:nvSpPr>
        <p:spPr>
          <a:xfrm>
            <a:off x="301705" y="3573217"/>
            <a:ext cx="8541848" cy="753764"/>
          </a:xfrm>
          <a:prstGeom prst="rect">
            <a:avLst/>
          </a:prstGeom>
        </p:spPr>
        <p:txBody>
          <a:bodyPr lIns="53630" tIns="53630" rIns="53630" bIns="53630" anchor="b"/>
          <a:lstStyle>
            <a:lvl1pPr algn="ctr" defTabSz="305078">
              <a:lnSpc>
                <a:spcPct val="100000"/>
              </a:lnSpc>
              <a:defRPr sz="405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Başlık Metni</a:t>
            </a:r>
          </a:p>
        </p:txBody>
      </p:sp>
      <p:sp>
        <p:nvSpPr>
          <p:cNvPr id="259" name="Gövde Düzeyi Bir…"/>
          <p:cNvSpPr txBox="1">
            <a:spLocks noGrp="1"/>
          </p:cNvSpPr>
          <p:nvPr>
            <p:ph type="body" sz="quarter" idx="1"/>
          </p:nvPr>
        </p:nvSpPr>
        <p:spPr>
          <a:xfrm>
            <a:off x="301705" y="4298358"/>
            <a:ext cx="8541848" cy="596332"/>
          </a:xfrm>
          <a:prstGeom prst="rect">
            <a:avLst/>
          </a:prstGeom>
        </p:spPr>
        <p:txBody>
          <a:bodyPr lIns="53630" tIns="53630" rIns="53630" bIns="53630"/>
          <a:lstStyle>
            <a:lvl1pPr marL="0" indent="0" algn="ctr" defTabSz="30507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1pPr>
            <a:lvl2pPr marL="0" indent="0" algn="ctr" defTabSz="30507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2pPr>
            <a:lvl3pPr marL="0" indent="0" algn="ctr" defTabSz="30507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3pPr>
            <a:lvl4pPr marL="0" indent="0" algn="ctr" defTabSz="30507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4pPr>
            <a:lvl5pPr marL="0" indent="0" algn="ctr" defTabSz="30507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260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1208" y="4913771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03051927"/>
      </p:ext>
    </p:extLst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aşlık - Or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Başlık Metni"/>
          <p:cNvSpPr txBox="1">
            <a:spLocks noGrp="1"/>
          </p:cNvSpPr>
          <p:nvPr>
            <p:ph type="title"/>
          </p:nvPr>
        </p:nvSpPr>
        <p:spPr>
          <a:xfrm>
            <a:off x="724104" y="1703123"/>
            <a:ext cx="7697051" cy="1746059"/>
          </a:xfrm>
          <a:prstGeom prst="rect">
            <a:avLst/>
          </a:prstGeom>
        </p:spPr>
        <p:txBody>
          <a:bodyPr lIns="53630" tIns="53630" rIns="53630" bIns="53630"/>
          <a:lstStyle>
            <a:lvl1pPr algn="ctr" defTabSz="305078">
              <a:lnSpc>
                <a:spcPct val="100000"/>
              </a:lnSpc>
              <a:defRPr sz="405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Başlık Metni</a:t>
            </a:r>
          </a:p>
        </p:txBody>
      </p:sp>
      <p:sp>
        <p:nvSpPr>
          <p:cNvPr id="268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1208" y="4913771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1293205"/>
      </p:ext>
    </p:extLst>
  </p:cSld>
  <p:clrMapOvr>
    <a:masterClrMapping/>
  </p:clrMapOvr>
  <p:transition spd="med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Fotoğraf - Düş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örüntü"/>
          <p:cNvSpPr>
            <a:spLocks noGrp="1"/>
          </p:cNvSpPr>
          <p:nvPr>
            <p:ph type="pic" sz="half" idx="13"/>
          </p:nvPr>
        </p:nvSpPr>
        <p:spPr>
          <a:xfrm>
            <a:off x="4932566" y="357799"/>
            <a:ext cx="3519994" cy="430789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76" name="Başlık Metni"/>
          <p:cNvSpPr txBox="1">
            <a:spLocks noGrp="1"/>
          </p:cNvSpPr>
          <p:nvPr>
            <p:ph type="title"/>
          </p:nvPr>
        </p:nvSpPr>
        <p:spPr>
          <a:xfrm>
            <a:off x="677171" y="357799"/>
            <a:ext cx="3778125" cy="2084775"/>
          </a:xfrm>
          <a:prstGeom prst="rect">
            <a:avLst/>
          </a:prstGeom>
        </p:spPr>
        <p:txBody>
          <a:bodyPr lIns="53630" tIns="53630" rIns="53630" bIns="53630" anchor="b"/>
          <a:lstStyle>
            <a:lvl1pPr algn="ctr" defTabSz="305078">
              <a:lnSpc>
                <a:spcPct val="100000"/>
              </a:lnSpc>
              <a:defRPr sz="3075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Başlık Metni</a:t>
            </a:r>
          </a:p>
        </p:txBody>
      </p:sp>
      <p:sp>
        <p:nvSpPr>
          <p:cNvPr id="277" name="Gövde Düzeyi Bir…"/>
          <p:cNvSpPr txBox="1">
            <a:spLocks noGrp="1"/>
          </p:cNvSpPr>
          <p:nvPr>
            <p:ph type="body" sz="quarter" idx="1"/>
          </p:nvPr>
        </p:nvSpPr>
        <p:spPr>
          <a:xfrm>
            <a:off x="677171" y="2452115"/>
            <a:ext cx="3778125" cy="2151564"/>
          </a:xfrm>
          <a:prstGeom prst="rect">
            <a:avLst/>
          </a:prstGeom>
        </p:spPr>
        <p:txBody>
          <a:bodyPr lIns="53630" tIns="53630" rIns="53630" bIns="53630"/>
          <a:lstStyle>
            <a:lvl1pPr marL="0" indent="0" algn="ctr" defTabSz="30507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1pPr>
            <a:lvl2pPr marL="0" indent="0" algn="ctr" defTabSz="30507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2pPr>
            <a:lvl3pPr marL="0" indent="0" algn="ctr" defTabSz="30507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3pPr>
            <a:lvl4pPr marL="0" indent="0" algn="ctr" defTabSz="30507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4pPr>
            <a:lvl5pPr marL="0" indent="0" algn="ctr" defTabSz="30507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278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1208" y="4913771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4410630"/>
      </p:ext>
    </p:extLst>
  </p:cSld>
  <p:clrMapOvr>
    <a:masterClrMapping/>
  </p:clrMapOvr>
  <p:transition spd="med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aşlık - Ü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Başlık Metni"/>
          <p:cNvSpPr txBox="1">
            <a:spLocks noGrp="1"/>
          </p:cNvSpPr>
          <p:nvPr>
            <p:ph type="title"/>
          </p:nvPr>
        </p:nvSpPr>
        <p:spPr>
          <a:xfrm>
            <a:off x="691252" y="133577"/>
            <a:ext cx="7762757" cy="858719"/>
          </a:xfrm>
          <a:prstGeom prst="rect">
            <a:avLst/>
          </a:prstGeom>
        </p:spPr>
        <p:txBody>
          <a:bodyPr lIns="53630" tIns="53630" rIns="53630" bIns="53630"/>
          <a:lstStyle>
            <a:lvl1pPr algn="ctr" defTabSz="305078">
              <a:lnSpc>
                <a:spcPct val="100000"/>
              </a:lnSpc>
              <a:defRPr sz="405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Başlık Metni</a:t>
            </a:r>
          </a:p>
        </p:txBody>
      </p:sp>
      <p:sp>
        <p:nvSpPr>
          <p:cNvPr id="286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1208" y="4913771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5416362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aşlık, Maddeler ve Fotoğr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örüntü"/>
          <p:cNvSpPr>
            <a:spLocks noGrp="1"/>
          </p:cNvSpPr>
          <p:nvPr>
            <p:ph type="pic" sz="half" idx="13"/>
          </p:nvPr>
        </p:nvSpPr>
        <p:spPr>
          <a:xfrm>
            <a:off x="4934015" y="1183122"/>
            <a:ext cx="3519993" cy="349211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94" name="Başlık Metni"/>
          <p:cNvSpPr txBox="1">
            <a:spLocks noGrp="1"/>
          </p:cNvSpPr>
          <p:nvPr>
            <p:ph type="title"/>
          </p:nvPr>
        </p:nvSpPr>
        <p:spPr>
          <a:xfrm>
            <a:off x="691252" y="133577"/>
            <a:ext cx="7762757" cy="858719"/>
          </a:xfrm>
          <a:prstGeom prst="rect">
            <a:avLst/>
          </a:prstGeom>
        </p:spPr>
        <p:txBody>
          <a:bodyPr lIns="53630" tIns="53630" rIns="53630" bIns="53630"/>
          <a:lstStyle>
            <a:lvl1pPr algn="ctr" defTabSz="305078">
              <a:lnSpc>
                <a:spcPct val="100000"/>
              </a:lnSpc>
              <a:defRPr sz="405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Başlık Metni</a:t>
            </a:r>
          </a:p>
        </p:txBody>
      </p:sp>
      <p:sp>
        <p:nvSpPr>
          <p:cNvPr id="295" name="Gövde Düzeyi Bir…"/>
          <p:cNvSpPr txBox="1">
            <a:spLocks noGrp="1"/>
          </p:cNvSpPr>
          <p:nvPr>
            <p:ph type="body" sz="half" idx="1"/>
          </p:nvPr>
        </p:nvSpPr>
        <p:spPr>
          <a:xfrm>
            <a:off x="691251" y="1183122"/>
            <a:ext cx="3778126" cy="3492118"/>
          </a:xfrm>
          <a:prstGeom prst="rect">
            <a:avLst/>
          </a:prstGeom>
        </p:spPr>
        <p:txBody>
          <a:bodyPr lIns="53630" tIns="53630" rIns="53630" bIns="53630" anchor="ctr"/>
          <a:lstStyle>
            <a:lvl1pPr marL="201204" indent="-201204" defTabSz="305078">
              <a:lnSpc>
                <a:spcPct val="100000"/>
              </a:lnSpc>
              <a:spcBef>
                <a:spcPts val="1650"/>
              </a:spcBef>
              <a:buSzPct val="125000"/>
              <a:buFontTx/>
              <a:defRPr sz="1350">
                <a:latin typeface="+mn-lt"/>
                <a:ea typeface="+mn-ea"/>
                <a:cs typeface="+mn-cs"/>
                <a:sym typeface="Helvetica Neue"/>
              </a:defRPr>
            </a:lvl1pPr>
            <a:lvl2pPr marL="396819" indent="-201204" defTabSz="305078">
              <a:lnSpc>
                <a:spcPct val="100000"/>
              </a:lnSpc>
              <a:spcBef>
                <a:spcPts val="1650"/>
              </a:spcBef>
              <a:buSzPct val="125000"/>
              <a:buFontTx/>
              <a:defRPr sz="1350">
                <a:latin typeface="+mn-lt"/>
                <a:ea typeface="+mn-ea"/>
                <a:cs typeface="+mn-cs"/>
                <a:sym typeface="Helvetica Neue"/>
              </a:defRPr>
            </a:lvl2pPr>
            <a:lvl3pPr marL="592433" indent="-201204" defTabSz="305078">
              <a:lnSpc>
                <a:spcPct val="100000"/>
              </a:lnSpc>
              <a:spcBef>
                <a:spcPts val="1650"/>
              </a:spcBef>
              <a:buSzPct val="125000"/>
              <a:buFontTx/>
              <a:defRPr sz="1350">
                <a:latin typeface="+mn-lt"/>
                <a:ea typeface="+mn-ea"/>
                <a:cs typeface="+mn-cs"/>
                <a:sym typeface="Helvetica Neue"/>
              </a:defRPr>
            </a:lvl3pPr>
            <a:lvl4pPr marL="788049" indent="-201204" defTabSz="305078">
              <a:lnSpc>
                <a:spcPct val="100000"/>
              </a:lnSpc>
              <a:spcBef>
                <a:spcPts val="1650"/>
              </a:spcBef>
              <a:buSzPct val="125000"/>
              <a:buFontTx/>
              <a:defRPr sz="1350">
                <a:latin typeface="+mn-lt"/>
                <a:ea typeface="+mn-ea"/>
                <a:cs typeface="+mn-cs"/>
                <a:sym typeface="Helvetica Neue"/>
              </a:defRPr>
            </a:lvl4pPr>
            <a:lvl5pPr marL="983665" indent="-201204" defTabSz="305078">
              <a:lnSpc>
                <a:spcPct val="100000"/>
              </a:lnSpc>
              <a:spcBef>
                <a:spcPts val="1650"/>
              </a:spcBef>
              <a:buSzPct val="125000"/>
              <a:buFontTx/>
              <a:defRPr sz="1350">
                <a:latin typeface="+mn-lt"/>
                <a:ea typeface="+mn-ea"/>
                <a:cs typeface="+mn-cs"/>
                <a:sym typeface="Helvetica Neue"/>
              </a:defRPr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296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1208" y="4913771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02038173"/>
      </p:ext>
    </p:extLst>
  </p:cSld>
  <p:clrMapOvr>
    <a:masterClrMapping/>
  </p:clrMapOvr>
  <p:transition spd="med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Mad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Gövde Düzeyi Bir…"/>
          <p:cNvSpPr txBox="1">
            <a:spLocks noGrp="1"/>
          </p:cNvSpPr>
          <p:nvPr>
            <p:ph type="body" idx="1"/>
          </p:nvPr>
        </p:nvSpPr>
        <p:spPr>
          <a:xfrm>
            <a:off x="691252" y="667892"/>
            <a:ext cx="7762757" cy="3816522"/>
          </a:xfrm>
          <a:prstGeom prst="rect">
            <a:avLst/>
          </a:prstGeom>
        </p:spPr>
        <p:txBody>
          <a:bodyPr lIns="53630" tIns="53630" rIns="53630" bIns="53630" anchor="ctr"/>
          <a:lstStyle>
            <a:lvl1pPr marL="232393" indent="-232393" defTabSz="305078">
              <a:lnSpc>
                <a:spcPct val="100000"/>
              </a:lnSpc>
              <a:spcBef>
                <a:spcPts val="2175"/>
              </a:spcBef>
              <a:buSzPct val="125000"/>
              <a:buFontTx/>
              <a:defRPr sz="1725">
                <a:latin typeface="+mn-lt"/>
                <a:ea typeface="+mn-ea"/>
                <a:cs typeface="+mn-cs"/>
                <a:sym typeface="Helvetica Neue"/>
              </a:defRPr>
            </a:lvl1pPr>
            <a:lvl2pPr marL="454683" indent="-232393" defTabSz="305078">
              <a:lnSpc>
                <a:spcPct val="100000"/>
              </a:lnSpc>
              <a:spcBef>
                <a:spcPts val="2175"/>
              </a:spcBef>
              <a:buSzPct val="125000"/>
              <a:buFontTx/>
              <a:defRPr sz="1725">
                <a:latin typeface="+mn-lt"/>
                <a:ea typeface="+mn-ea"/>
                <a:cs typeface="+mn-cs"/>
                <a:sym typeface="Helvetica Neue"/>
              </a:defRPr>
            </a:lvl2pPr>
            <a:lvl3pPr marL="676973" indent="-232393" defTabSz="305078">
              <a:lnSpc>
                <a:spcPct val="100000"/>
              </a:lnSpc>
              <a:spcBef>
                <a:spcPts val="2175"/>
              </a:spcBef>
              <a:buSzPct val="125000"/>
              <a:buFontTx/>
              <a:defRPr sz="1725">
                <a:latin typeface="+mn-lt"/>
                <a:ea typeface="+mn-ea"/>
                <a:cs typeface="+mn-cs"/>
                <a:sym typeface="Helvetica Neue"/>
              </a:defRPr>
            </a:lvl3pPr>
            <a:lvl4pPr marL="899262" indent="-232393" defTabSz="305078">
              <a:lnSpc>
                <a:spcPct val="100000"/>
              </a:lnSpc>
              <a:spcBef>
                <a:spcPts val="2175"/>
              </a:spcBef>
              <a:buSzPct val="125000"/>
              <a:buFontTx/>
              <a:defRPr sz="1725">
                <a:latin typeface="+mn-lt"/>
                <a:ea typeface="+mn-ea"/>
                <a:cs typeface="+mn-cs"/>
                <a:sym typeface="Helvetica Neue"/>
              </a:defRPr>
            </a:lvl4pPr>
            <a:lvl5pPr marL="1121553" indent="-232394" defTabSz="305078">
              <a:lnSpc>
                <a:spcPct val="100000"/>
              </a:lnSpc>
              <a:spcBef>
                <a:spcPts val="2175"/>
              </a:spcBef>
              <a:buSzPct val="125000"/>
              <a:buFontTx/>
              <a:defRPr sz="1725">
                <a:latin typeface="+mn-lt"/>
                <a:ea typeface="+mn-ea"/>
                <a:cs typeface="+mn-cs"/>
                <a:sym typeface="Helvetica Neue"/>
              </a:defRPr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304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1208" y="4913771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5772963"/>
      </p:ext>
    </p:extLst>
  </p:cSld>
  <p:clrMapOvr>
    <a:masterClrMapping/>
  </p:clrMapOvr>
  <p:transition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Fotoğraf - 3 Yukar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örüntü"/>
          <p:cNvSpPr>
            <a:spLocks noGrp="1"/>
          </p:cNvSpPr>
          <p:nvPr>
            <p:ph type="pic" sz="quarter" idx="13"/>
          </p:nvPr>
        </p:nvSpPr>
        <p:spPr>
          <a:xfrm>
            <a:off x="5891454" y="2647711"/>
            <a:ext cx="2736208" cy="208477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2" name="Görüntü"/>
          <p:cNvSpPr>
            <a:spLocks noGrp="1"/>
          </p:cNvSpPr>
          <p:nvPr>
            <p:ph type="pic" sz="quarter" idx="14"/>
          </p:nvPr>
        </p:nvSpPr>
        <p:spPr>
          <a:xfrm>
            <a:off x="5891454" y="424589"/>
            <a:ext cx="2736208" cy="208477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3" name="Görüntü"/>
          <p:cNvSpPr>
            <a:spLocks noGrp="1"/>
          </p:cNvSpPr>
          <p:nvPr>
            <p:ph type="pic" idx="15"/>
          </p:nvPr>
        </p:nvSpPr>
        <p:spPr>
          <a:xfrm>
            <a:off x="512905" y="424589"/>
            <a:ext cx="5237750" cy="430789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4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1208" y="4913771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12142409"/>
      </p:ext>
    </p:extLst>
  </p:cSld>
  <p:clrMapOvr>
    <a:masterClrMapping/>
  </p:clrMapOvr>
  <p:transition spd="med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Alınt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övde Düzeyi Bir…"/>
          <p:cNvSpPr txBox="1">
            <a:spLocks noGrp="1"/>
          </p:cNvSpPr>
          <p:nvPr>
            <p:ph type="body" sz="quarter" idx="1"/>
          </p:nvPr>
        </p:nvSpPr>
        <p:spPr>
          <a:xfrm>
            <a:off x="949384" y="3363310"/>
            <a:ext cx="7251185" cy="219947"/>
          </a:xfrm>
          <a:prstGeom prst="rect">
            <a:avLst/>
          </a:prstGeom>
        </p:spPr>
        <p:txBody>
          <a:bodyPr lIns="53630" tIns="53630" rIns="53630" bIns="53630"/>
          <a:lstStyle>
            <a:lvl1pPr marL="0" indent="0" algn="ctr" defTabSz="30507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125" i="1">
                <a:latin typeface="+mn-lt"/>
                <a:ea typeface="+mn-ea"/>
                <a:cs typeface="+mn-cs"/>
                <a:sym typeface="Helvetica Neue"/>
              </a:defRPr>
            </a:lvl1pPr>
            <a:lvl2pPr marL="363800" indent="-141511" algn="ctr" defTabSz="305078">
              <a:lnSpc>
                <a:spcPct val="100000"/>
              </a:lnSpc>
              <a:spcBef>
                <a:spcPts val="0"/>
              </a:spcBef>
              <a:buSzPct val="125000"/>
              <a:buFontTx/>
              <a:defRPr sz="1125" i="1">
                <a:latin typeface="+mn-lt"/>
                <a:ea typeface="+mn-ea"/>
                <a:cs typeface="+mn-cs"/>
                <a:sym typeface="Helvetica Neue"/>
              </a:defRPr>
            </a:lvl2pPr>
            <a:lvl3pPr marL="586090" indent="-141511" algn="ctr" defTabSz="305078">
              <a:lnSpc>
                <a:spcPct val="100000"/>
              </a:lnSpc>
              <a:spcBef>
                <a:spcPts val="0"/>
              </a:spcBef>
              <a:buSzPct val="125000"/>
              <a:buFontTx/>
              <a:defRPr sz="1125" i="1">
                <a:latin typeface="+mn-lt"/>
                <a:ea typeface="+mn-ea"/>
                <a:cs typeface="+mn-cs"/>
                <a:sym typeface="Helvetica Neue"/>
              </a:defRPr>
            </a:lvl3pPr>
            <a:lvl4pPr marL="808379" indent="-141511" algn="ctr" defTabSz="305078">
              <a:lnSpc>
                <a:spcPct val="100000"/>
              </a:lnSpc>
              <a:spcBef>
                <a:spcPts val="0"/>
              </a:spcBef>
              <a:buSzPct val="125000"/>
              <a:buFontTx/>
              <a:defRPr sz="1125" i="1">
                <a:latin typeface="+mn-lt"/>
                <a:ea typeface="+mn-ea"/>
                <a:cs typeface="+mn-cs"/>
                <a:sym typeface="Helvetica Neue"/>
              </a:defRPr>
            </a:lvl4pPr>
            <a:lvl5pPr marL="1030670" indent="-141511" algn="ctr" defTabSz="305078">
              <a:lnSpc>
                <a:spcPct val="100000"/>
              </a:lnSpc>
              <a:spcBef>
                <a:spcPts val="0"/>
              </a:spcBef>
              <a:buSzPct val="125000"/>
              <a:buFontTx/>
              <a:defRPr sz="1125" i="1">
                <a:latin typeface="+mn-lt"/>
                <a:ea typeface="+mn-ea"/>
                <a:cs typeface="+mn-cs"/>
                <a:sym typeface="Helvetica Neue"/>
              </a:defRPr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322" name="“Buraya bir alıntı yazın.”"/>
          <p:cNvSpPr txBox="1">
            <a:spLocks noGrp="1"/>
          </p:cNvSpPr>
          <p:nvPr>
            <p:ph type="body" sz="quarter" idx="13"/>
          </p:nvPr>
        </p:nvSpPr>
        <p:spPr>
          <a:xfrm>
            <a:off x="949382" y="2282757"/>
            <a:ext cx="7251186" cy="310093"/>
          </a:xfrm>
          <a:prstGeom prst="rect">
            <a:avLst/>
          </a:prstGeom>
        </p:spPr>
        <p:txBody>
          <a:bodyPr lIns="53630" tIns="53630" rIns="53630" bIns="53630" anchor="ctr"/>
          <a:lstStyle>
            <a:lvl1pPr marL="0" indent="0" algn="ctr" defTabSz="61015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60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 marL="0" indent="0" algn="ctr" defTabSz="813535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60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sp>
        <p:nvSpPr>
          <p:cNvPr id="323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1208" y="4913771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40729239"/>
      </p:ext>
    </p:extLst>
  </p:cSld>
  <p:clrMapOvr>
    <a:masterClrMapping/>
  </p:clrMapOvr>
  <p:transition spd="med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Рисунок 33"/>
          <p:cNvSpPr>
            <a:spLocks noGrp="1"/>
          </p:cNvSpPr>
          <p:nvPr>
            <p:ph type="pic" sz="half" idx="13"/>
          </p:nvPr>
        </p:nvSpPr>
        <p:spPr>
          <a:xfrm>
            <a:off x="686557" y="858718"/>
            <a:ext cx="3379194" cy="343486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1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6366666" y="4694917"/>
            <a:ext cx="158387" cy="161016"/>
          </a:xfrm>
          <a:prstGeom prst="rect">
            <a:avLst/>
          </a:prstGeom>
        </p:spPr>
        <p:txBody>
          <a:bodyPr lIns="48265" tIns="48265" rIns="48265" bIns="48265"/>
          <a:lstStyle>
            <a:lvl1pPr defTabSz="168966">
              <a:defRPr sz="413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0841675"/>
      </p:ext>
    </p:extLst>
  </p:cSld>
  <p:clrMapOvr>
    <a:masterClrMapping/>
  </p:clrMapOvr>
  <p:transition spd="med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924364" y="1788398"/>
            <a:ext cx="2739730" cy="157550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9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6200260" y="4614471"/>
            <a:ext cx="324791" cy="321905"/>
          </a:xfrm>
          <a:prstGeom prst="rect">
            <a:avLst/>
          </a:prstGeom>
        </p:spPr>
        <p:txBody>
          <a:bodyPr lIns="96531" tIns="96531" rIns="96531" bIns="96531"/>
          <a:lstStyle>
            <a:lvl1pPr defTabSz="675866">
              <a:defRPr>
                <a:latin typeface="Raleway Regular"/>
                <a:ea typeface="Raleway Regular"/>
                <a:cs typeface="Raleway Regular"/>
                <a:sym typeface="Raleway Regular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41592050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Li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3"/>
          <p:cNvSpPr>
            <a:spLocks noGrp="1"/>
          </p:cNvSpPr>
          <p:nvPr>
            <p:ph sz="quarter" idx="13"/>
          </p:nvPr>
        </p:nvSpPr>
        <p:spPr>
          <a:xfrm>
            <a:off x="427038" y="1347614"/>
            <a:ext cx="8249418" cy="309634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04168827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Picture Placeholder 4"/>
          <p:cNvSpPr>
            <a:spLocks noGrp="1"/>
          </p:cNvSpPr>
          <p:nvPr>
            <p:ph type="pic" idx="13"/>
          </p:nvPr>
        </p:nvSpPr>
        <p:spPr>
          <a:xfrm>
            <a:off x="67036" y="1"/>
            <a:ext cx="8163281" cy="515230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47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6200260" y="4614471"/>
            <a:ext cx="324791" cy="321905"/>
          </a:xfrm>
          <a:prstGeom prst="rect">
            <a:avLst/>
          </a:prstGeom>
        </p:spPr>
        <p:txBody>
          <a:bodyPr lIns="96531" tIns="96531" rIns="96531" bIns="96531"/>
          <a:lstStyle>
            <a:lvl1pPr defTabSz="675866">
              <a:defRPr>
                <a:latin typeface="Raleway Regular"/>
                <a:ea typeface="Raleway Regular"/>
                <a:cs typeface="Raleway Regular"/>
                <a:sym typeface="Raleway Regular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83794879"/>
      </p:ext>
    </p:extLst>
  </p:cSld>
  <p:clrMapOvr>
    <a:masterClrMapping/>
  </p:clrMapOvr>
  <p:transition spd="med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Title Slide">
    <p:bg>
      <p:bgPr>
        <a:solidFill>
          <a:srgbClr val="2626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Picture Placeholder 12"/>
          <p:cNvSpPr>
            <a:spLocks noGrp="1"/>
          </p:cNvSpPr>
          <p:nvPr>
            <p:ph type="pic" sz="half" idx="13"/>
          </p:nvPr>
        </p:nvSpPr>
        <p:spPr>
          <a:xfrm>
            <a:off x="5280651" y="629727"/>
            <a:ext cx="2624909" cy="3892852"/>
          </a:xfrm>
          <a:prstGeom prst="rect">
            <a:avLst/>
          </a:prstGeom>
          <a:effectLst>
            <a:outerShdw blurRad="800100" dist="152400" dir="5400000" rotWithShape="0">
              <a:srgbClr val="000000">
                <a:alpha val="40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55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94482" y="4646614"/>
            <a:ext cx="558830" cy="552738"/>
          </a:xfrm>
          <a:prstGeom prst="rect">
            <a:avLst/>
          </a:prstGeom>
        </p:spPr>
        <p:txBody>
          <a:bodyPr lIns="96531" tIns="96531" rIns="96531" bIns="96531" anchor="t"/>
          <a:lstStyle>
            <a:lvl1pPr algn="ctr" defTabSz="675866">
              <a:defRPr sz="2325">
                <a:solidFill>
                  <a:srgbClr val="D9D9D9"/>
                </a:solidFill>
                <a:latin typeface="Montserrat Hairline"/>
                <a:ea typeface="Montserrat Hairline"/>
                <a:cs typeface="Montserrat Hairline"/>
                <a:sym typeface="Montserrat Hairlin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7992447"/>
      </p:ext>
    </p:extLst>
  </p:cSld>
  <p:clrMapOvr>
    <a:masterClrMapping/>
  </p:clrMapOvr>
  <p:transition spd="med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Başlık Metni"/>
          <p:cNvSpPr txBox="1">
            <a:spLocks noGrp="1"/>
          </p:cNvSpPr>
          <p:nvPr>
            <p:ph type="title"/>
          </p:nvPr>
        </p:nvSpPr>
        <p:spPr>
          <a:xfrm>
            <a:off x="1193437" y="843213"/>
            <a:ext cx="6758387" cy="1793766"/>
          </a:xfrm>
          <a:prstGeom prst="rect">
            <a:avLst/>
          </a:prstGeom>
        </p:spPr>
        <p:txBody>
          <a:bodyPr lIns="53630" tIns="53630" rIns="53630" bIns="53630" anchor="b"/>
          <a:lstStyle>
            <a:lvl1pPr algn="ctr" defTabSz="305078">
              <a:lnSpc>
                <a:spcPct val="100000"/>
              </a:lnSpc>
              <a:defRPr sz="435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Başlık Metni</a:t>
            </a:r>
          </a:p>
        </p:txBody>
      </p:sp>
      <p:sp>
        <p:nvSpPr>
          <p:cNvPr id="363" name="Gövde Düzeyi Bir…"/>
          <p:cNvSpPr txBox="1">
            <a:spLocks noGrp="1"/>
          </p:cNvSpPr>
          <p:nvPr>
            <p:ph type="body" sz="quarter" idx="1"/>
          </p:nvPr>
        </p:nvSpPr>
        <p:spPr>
          <a:xfrm>
            <a:off x="1193437" y="2706153"/>
            <a:ext cx="6758387" cy="1243948"/>
          </a:xfrm>
          <a:prstGeom prst="rect">
            <a:avLst/>
          </a:prstGeom>
        </p:spPr>
        <p:txBody>
          <a:bodyPr lIns="53630" tIns="53630" rIns="53630" bIns="53630" anchor="ctr"/>
          <a:lstStyle>
            <a:lvl1pPr marL="0" indent="0" algn="ctr" defTabSz="305078">
              <a:lnSpc>
                <a:spcPct val="100000"/>
              </a:lnSpc>
              <a:spcBef>
                <a:spcPts val="2175"/>
              </a:spcBef>
              <a:buSzTx/>
              <a:buFontTx/>
              <a:buNone/>
              <a:defRPr sz="1725">
                <a:latin typeface="+mn-lt"/>
                <a:ea typeface="+mn-ea"/>
                <a:cs typeface="+mn-cs"/>
                <a:sym typeface="Helvetica Neue"/>
              </a:defRPr>
            </a:lvl1pPr>
            <a:lvl2pPr marL="0" indent="0" algn="ctr" defTabSz="305078">
              <a:lnSpc>
                <a:spcPct val="100000"/>
              </a:lnSpc>
              <a:spcBef>
                <a:spcPts val="2175"/>
              </a:spcBef>
              <a:buSzTx/>
              <a:buFontTx/>
              <a:buNone/>
              <a:defRPr sz="1725">
                <a:latin typeface="+mn-lt"/>
                <a:ea typeface="+mn-ea"/>
                <a:cs typeface="+mn-cs"/>
                <a:sym typeface="Helvetica Neue"/>
              </a:defRPr>
            </a:lvl2pPr>
            <a:lvl3pPr marL="0" indent="0" algn="ctr" defTabSz="305078">
              <a:lnSpc>
                <a:spcPct val="100000"/>
              </a:lnSpc>
              <a:spcBef>
                <a:spcPts val="2175"/>
              </a:spcBef>
              <a:buSzTx/>
              <a:buFontTx/>
              <a:buNone/>
              <a:defRPr sz="1725">
                <a:latin typeface="+mn-lt"/>
                <a:ea typeface="+mn-ea"/>
                <a:cs typeface="+mn-cs"/>
                <a:sym typeface="Helvetica Neue"/>
              </a:defRPr>
            </a:lvl3pPr>
            <a:lvl4pPr marL="0" indent="0" algn="ctr" defTabSz="305078">
              <a:lnSpc>
                <a:spcPct val="100000"/>
              </a:lnSpc>
              <a:spcBef>
                <a:spcPts val="2175"/>
              </a:spcBef>
              <a:buSzTx/>
              <a:buFontTx/>
              <a:buNone/>
              <a:defRPr sz="1725">
                <a:latin typeface="+mn-lt"/>
                <a:ea typeface="+mn-ea"/>
                <a:cs typeface="+mn-cs"/>
                <a:sym typeface="Helvetica Neue"/>
              </a:defRPr>
            </a:lvl4pPr>
            <a:lvl5pPr marL="0" indent="0" algn="ctr" defTabSz="305078">
              <a:lnSpc>
                <a:spcPct val="100000"/>
              </a:lnSpc>
              <a:spcBef>
                <a:spcPts val="2175"/>
              </a:spcBef>
              <a:buSzTx/>
              <a:buFontTx/>
              <a:buNone/>
              <a:defRPr sz="1725">
                <a:latin typeface="+mn-lt"/>
                <a:ea typeface="+mn-ea"/>
                <a:cs typeface="+mn-cs"/>
                <a:sym typeface="Helvetica Neue"/>
              </a:defRPr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364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1207" y="4913771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6197163"/>
      </p:ext>
    </p:extLst>
  </p:cSld>
  <p:clrMapOvr>
    <a:masterClrMapping/>
  </p:clrMapOvr>
  <p:transition spd="med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Başlık Metni"/>
          <p:cNvSpPr txBox="1">
            <a:spLocks noGrp="1"/>
          </p:cNvSpPr>
          <p:nvPr>
            <p:ph type="title"/>
          </p:nvPr>
        </p:nvSpPr>
        <p:spPr>
          <a:xfrm>
            <a:off x="669350" y="1336049"/>
            <a:ext cx="7806562" cy="1250306"/>
          </a:xfrm>
          <a:prstGeom prst="rect">
            <a:avLst/>
          </a:prstGeom>
        </p:spPr>
        <p:txBody>
          <a:bodyPr lIns="0" tIns="0" rIns="0" bIns="0" anchor="b"/>
          <a:lstStyle>
            <a:lvl1pPr algn="ctr" defTabSz="675866">
              <a:lnSpc>
                <a:spcPts val="3150"/>
              </a:lnSpc>
              <a:defRPr sz="2625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Başlık Metni</a:t>
            </a:r>
          </a:p>
        </p:txBody>
      </p:sp>
      <p:sp>
        <p:nvSpPr>
          <p:cNvPr id="372" name="Gövde Düzeyi Bir…"/>
          <p:cNvSpPr txBox="1">
            <a:spLocks noGrp="1"/>
          </p:cNvSpPr>
          <p:nvPr>
            <p:ph type="body" sz="quarter" idx="1"/>
          </p:nvPr>
        </p:nvSpPr>
        <p:spPr>
          <a:xfrm>
            <a:off x="669350" y="2943009"/>
            <a:ext cx="7806562" cy="748993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675866">
              <a:lnSpc>
                <a:spcPts val="1275"/>
              </a:lnSpc>
              <a:spcBef>
                <a:spcPts val="0"/>
              </a:spcBef>
              <a:buSzTx/>
              <a:buFontTx/>
              <a:buNone/>
              <a:defRPr sz="900">
                <a:solidFill>
                  <a:srgbClr val="FFFFFF">
                    <a:alpha val="50000"/>
                  </a:srgbClr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49197" indent="-189149" algn="ctr" defTabSz="675866">
              <a:lnSpc>
                <a:spcPts val="1275"/>
              </a:lnSpc>
              <a:spcBef>
                <a:spcPts val="0"/>
              </a:spcBef>
              <a:buFontTx/>
              <a:defRPr sz="900">
                <a:solidFill>
                  <a:srgbClr val="FFFFFF">
                    <a:alpha val="50000"/>
                  </a:srgbClr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09246" indent="-189149" algn="ctr" defTabSz="675866">
              <a:lnSpc>
                <a:spcPts val="1275"/>
              </a:lnSpc>
              <a:spcBef>
                <a:spcPts val="0"/>
              </a:spcBef>
              <a:buFontTx/>
              <a:defRPr sz="900">
                <a:solidFill>
                  <a:srgbClr val="FFFFFF">
                    <a:alpha val="50000"/>
                  </a:srgbClr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669294" indent="-189149" algn="ctr" defTabSz="675866">
              <a:lnSpc>
                <a:spcPts val="1275"/>
              </a:lnSpc>
              <a:spcBef>
                <a:spcPts val="0"/>
              </a:spcBef>
              <a:buFontTx/>
              <a:defRPr sz="900">
                <a:solidFill>
                  <a:srgbClr val="FFFFFF">
                    <a:alpha val="50000"/>
                  </a:srgbClr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29343" indent="-189148" algn="ctr" defTabSz="675866">
              <a:lnSpc>
                <a:spcPts val="1275"/>
              </a:lnSpc>
              <a:spcBef>
                <a:spcPts val="0"/>
              </a:spcBef>
              <a:buFontTx/>
              <a:defRPr sz="900">
                <a:solidFill>
                  <a:srgbClr val="FFFFFF">
                    <a:alpha val="50000"/>
                  </a:srgbClr>
                </a:solid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373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6430475" y="4729256"/>
            <a:ext cx="94578" cy="92333"/>
          </a:xfrm>
          <a:prstGeom prst="rect">
            <a:avLst/>
          </a:prstGeom>
        </p:spPr>
        <p:txBody>
          <a:bodyPr lIns="0" tIns="0" rIns="0" bIns="0"/>
          <a:lstStyle>
            <a:lvl1pPr defTabSz="675866">
              <a:defRPr sz="600">
                <a:solidFill>
                  <a:srgbClr val="A6A6A6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76448759"/>
      </p:ext>
    </p:extLst>
  </p:cSld>
  <p:clrMapOvr>
    <a:masterClrMapping/>
  </p:clrMapOvr>
  <p:transition spd="med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1208" y="4913771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87633704"/>
      </p:ext>
    </p:extLst>
  </p:cSld>
  <p:clrMapOvr>
    <a:masterClrMapping/>
  </p:clrMapOvr>
  <p:transition spd="med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0" name="Group 15"/>
          <p:cNvGrpSpPr/>
          <p:nvPr/>
        </p:nvGrpSpPr>
        <p:grpSpPr>
          <a:xfrm>
            <a:off x="5372364" y="4508053"/>
            <a:ext cx="867742" cy="868424"/>
            <a:chOff x="0" y="-1"/>
            <a:chExt cx="2313978" cy="2315796"/>
          </a:xfrm>
        </p:grpSpPr>
        <p:sp>
          <p:nvSpPr>
            <p:cNvPr id="387" name="Oval 35"/>
            <p:cNvSpPr/>
            <p:nvPr/>
          </p:nvSpPr>
          <p:spPr>
            <a:xfrm>
              <a:off x="-1" y="-2"/>
              <a:ext cx="2313979" cy="2315798"/>
            </a:xfrm>
            <a:prstGeom prst="ellipse">
              <a:avLst/>
            </a:prstGeom>
            <a:solidFill>
              <a:srgbClr val="FFC823">
                <a:alpha val="13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685874" eaLnBrk="1" fontAlgn="auto" hangingPunct="1">
                <a:spcBef>
                  <a:spcPts val="0"/>
                </a:spcBef>
                <a:spcAft>
                  <a:spcPts val="0"/>
                </a:spcAft>
                <a:defRPr sz="34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275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8" name="Oval 36"/>
            <p:cNvSpPr/>
            <p:nvPr/>
          </p:nvSpPr>
          <p:spPr>
            <a:xfrm>
              <a:off x="165835" y="165965"/>
              <a:ext cx="1982307" cy="1983865"/>
            </a:xfrm>
            <a:prstGeom prst="ellipse">
              <a:avLst/>
            </a:prstGeom>
            <a:solidFill>
              <a:srgbClr val="FFC823">
                <a:alpha val="25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685874" eaLnBrk="1" fontAlgn="auto" hangingPunct="1">
                <a:spcBef>
                  <a:spcPts val="0"/>
                </a:spcBef>
                <a:spcAft>
                  <a:spcPts val="0"/>
                </a:spcAft>
                <a:defRPr sz="34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275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9" name="Oval 40"/>
            <p:cNvSpPr/>
            <p:nvPr/>
          </p:nvSpPr>
          <p:spPr>
            <a:xfrm>
              <a:off x="340225" y="340492"/>
              <a:ext cx="1633526" cy="1634810"/>
            </a:xfrm>
            <a:prstGeom prst="ellipse">
              <a:avLst/>
            </a:prstGeom>
            <a:solidFill>
              <a:srgbClr val="FFC8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685874" eaLnBrk="1" fontAlgn="auto" hangingPunct="1">
                <a:spcBef>
                  <a:spcPts val="0"/>
                </a:spcBef>
                <a:spcAft>
                  <a:spcPts val="0"/>
                </a:spcAft>
                <a:defRPr sz="34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275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91" name="Rectangle 1"/>
          <p:cNvSpPr/>
          <p:nvPr/>
        </p:nvSpPr>
        <p:spPr>
          <a:xfrm>
            <a:off x="67039" y="4784981"/>
            <a:ext cx="9010552" cy="334386"/>
          </a:xfrm>
          <a:prstGeom prst="rect">
            <a:avLst/>
          </a:prstGeom>
          <a:solidFill>
            <a:srgbClr val="FFC823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685874" eaLnBrk="1" fontAlgn="auto" hangingPunct="1">
              <a:spcBef>
                <a:spcPts val="0"/>
              </a:spcBef>
              <a:spcAft>
                <a:spcPts val="0"/>
              </a:spcAft>
              <a:defRPr sz="34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275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95" name="Group 15"/>
          <p:cNvGrpSpPr/>
          <p:nvPr/>
        </p:nvGrpSpPr>
        <p:grpSpPr>
          <a:xfrm>
            <a:off x="5374652" y="4506606"/>
            <a:ext cx="867742" cy="868424"/>
            <a:chOff x="0" y="-1"/>
            <a:chExt cx="2313978" cy="2315796"/>
          </a:xfrm>
        </p:grpSpPr>
        <p:sp>
          <p:nvSpPr>
            <p:cNvPr id="392" name="Oval 21"/>
            <p:cNvSpPr/>
            <p:nvPr/>
          </p:nvSpPr>
          <p:spPr>
            <a:xfrm>
              <a:off x="-1" y="-2"/>
              <a:ext cx="2313979" cy="2315798"/>
            </a:xfrm>
            <a:prstGeom prst="ellipse">
              <a:avLst/>
            </a:prstGeom>
            <a:solidFill>
              <a:srgbClr val="FFC823">
                <a:alpha val="13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685874" eaLnBrk="1" fontAlgn="auto" hangingPunct="1">
                <a:spcBef>
                  <a:spcPts val="0"/>
                </a:spcBef>
                <a:spcAft>
                  <a:spcPts val="0"/>
                </a:spcAft>
                <a:defRPr sz="34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275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" name="Oval 22"/>
            <p:cNvSpPr/>
            <p:nvPr/>
          </p:nvSpPr>
          <p:spPr>
            <a:xfrm>
              <a:off x="165835" y="165965"/>
              <a:ext cx="1982307" cy="1983865"/>
            </a:xfrm>
            <a:prstGeom prst="ellipse">
              <a:avLst/>
            </a:prstGeom>
            <a:solidFill>
              <a:srgbClr val="FFC823">
                <a:alpha val="25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685874" eaLnBrk="1" fontAlgn="auto" hangingPunct="1">
                <a:spcBef>
                  <a:spcPts val="0"/>
                </a:spcBef>
                <a:spcAft>
                  <a:spcPts val="0"/>
                </a:spcAft>
                <a:defRPr sz="34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275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" name="Oval 23"/>
            <p:cNvSpPr/>
            <p:nvPr/>
          </p:nvSpPr>
          <p:spPr>
            <a:xfrm>
              <a:off x="340225" y="340492"/>
              <a:ext cx="1633526" cy="1634810"/>
            </a:xfrm>
            <a:prstGeom prst="ellipse">
              <a:avLst/>
            </a:prstGeom>
            <a:solidFill>
              <a:srgbClr val="FFC8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defTabSz="685874" eaLnBrk="1" fontAlgn="auto" hangingPunct="1">
                <a:spcBef>
                  <a:spcPts val="0"/>
                </a:spcBef>
                <a:spcAft>
                  <a:spcPts val="0"/>
                </a:spcAft>
                <a:defRPr sz="34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275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96" name="Dikdörtgen 165"/>
          <p:cNvSpPr txBox="1"/>
          <p:nvPr/>
        </p:nvSpPr>
        <p:spPr>
          <a:xfrm>
            <a:off x="1107515" y="4842475"/>
            <a:ext cx="1284918" cy="1951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33789" tIns="33789" rIns="33789" bIns="33789">
            <a:spAutoFit/>
          </a:bodyPr>
          <a:lstStyle>
            <a:lvl1pPr defTabSz="1828798">
              <a:defRPr sz="2200">
                <a:solidFill>
                  <a:srgbClr val="FFFFFF"/>
                </a:solidFill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sz="825"/>
              <a:t>CAPITAL MARKETS DAY 2018</a:t>
            </a:r>
          </a:p>
        </p:txBody>
      </p:sp>
      <p:sp>
        <p:nvSpPr>
          <p:cNvPr id="397" name="Dikdörtgen 30"/>
          <p:cNvSpPr txBox="1"/>
          <p:nvPr/>
        </p:nvSpPr>
        <p:spPr>
          <a:xfrm>
            <a:off x="976427" y="4839440"/>
            <a:ext cx="116328" cy="1951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33789" tIns="33789" rIns="33789" bIns="33789">
            <a:spAutoFit/>
          </a:bodyPr>
          <a:lstStyle>
            <a:lvl1pPr algn="l" defTabSz="1828798"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sz="825"/>
              <a:t>|</a:t>
            </a:r>
          </a:p>
        </p:txBody>
      </p:sp>
      <p:pic>
        <p:nvPicPr>
          <p:cNvPr id="398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l="27954"/>
          <a:stretch>
            <a:fillRect/>
          </a:stretch>
        </p:blipFill>
        <p:spPr>
          <a:xfrm>
            <a:off x="407512" y="4803173"/>
            <a:ext cx="649439" cy="290884"/>
          </a:xfrm>
          <a:prstGeom prst="rect">
            <a:avLst/>
          </a:prstGeom>
          <a:ln w="12700">
            <a:miter lim="400000"/>
          </a:ln>
        </p:spPr>
      </p:pic>
      <p:pic>
        <p:nvPicPr>
          <p:cNvPr id="399" name="Resim 37" descr="Resim 37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5689897" y="4776610"/>
            <a:ext cx="246962" cy="247157"/>
          </a:xfrm>
          <a:prstGeom prst="rect">
            <a:avLst/>
          </a:prstGeom>
          <a:ln w="12700">
            <a:miter lim="400000"/>
          </a:ln>
        </p:spPr>
      </p:pic>
      <p:sp>
        <p:nvSpPr>
          <p:cNvPr id="400" name="Dikdörtgen 38"/>
          <p:cNvSpPr txBox="1"/>
          <p:nvPr/>
        </p:nvSpPr>
        <p:spPr>
          <a:xfrm>
            <a:off x="6089100" y="4830754"/>
            <a:ext cx="858519" cy="1951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33789" tIns="33789" rIns="33789" bIns="33789">
            <a:spAutoFit/>
          </a:bodyPr>
          <a:lstStyle>
            <a:lvl1pPr algn="r" defTabSz="1828798">
              <a:defRPr sz="2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sz="825"/>
              <a:t>Strategy Overview</a:t>
            </a:r>
          </a:p>
        </p:txBody>
      </p:sp>
      <p:grpSp>
        <p:nvGrpSpPr>
          <p:cNvPr id="404" name="Grup 39"/>
          <p:cNvGrpSpPr/>
          <p:nvPr/>
        </p:nvGrpSpPr>
        <p:grpSpPr>
          <a:xfrm>
            <a:off x="7109899" y="4869839"/>
            <a:ext cx="1081904" cy="180816"/>
            <a:chOff x="0" y="-1"/>
            <a:chExt cx="2885075" cy="482176"/>
          </a:xfrm>
        </p:grpSpPr>
        <p:pic>
          <p:nvPicPr>
            <p:cNvPr id="401" name="Resim 41" descr="Resim 41"/>
            <p:cNvPicPr>
              <a:picLocks noChangeAspect="1"/>
            </p:cNvPicPr>
            <p:nvPr/>
          </p:nvPicPr>
          <p:blipFill>
            <a:blip r:embed="rId4">
              <a:extLst/>
            </a:blip>
            <a:stretch>
              <a:fillRect/>
            </a:stretch>
          </p:blipFill>
          <p:spPr>
            <a:xfrm>
              <a:off x="2430283" y="18527"/>
              <a:ext cx="454793" cy="45515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02" name="Resim 42" descr="Resim 42"/>
            <p:cNvPicPr>
              <a:picLocks noChangeAspect="1"/>
            </p:cNvPicPr>
            <p:nvPr/>
          </p:nvPicPr>
          <p:blipFill>
            <a:blip r:embed="rId5">
              <a:extLst/>
            </a:blip>
            <a:stretch>
              <a:fillRect/>
            </a:stretch>
          </p:blipFill>
          <p:spPr>
            <a:xfrm>
              <a:off x="1577054" y="22963"/>
              <a:ext cx="458851" cy="45921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03" name="Resim 44" descr="Resim 44"/>
            <p:cNvPicPr>
              <a:picLocks noChangeAspect="1"/>
            </p:cNvPicPr>
            <p:nvPr/>
          </p:nvPicPr>
          <p:blipFill>
            <a:blip r:embed="rId6">
              <a:extLst/>
            </a:blip>
            <a:stretch>
              <a:fillRect/>
            </a:stretch>
          </p:blipFill>
          <p:spPr>
            <a:xfrm>
              <a:off x="0" y="-2"/>
              <a:ext cx="436913" cy="43725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05" name="Başlık Metni"/>
          <p:cNvSpPr txBox="1">
            <a:spLocks noGrp="1"/>
          </p:cNvSpPr>
          <p:nvPr>
            <p:ph type="title"/>
          </p:nvPr>
        </p:nvSpPr>
        <p:spPr>
          <a:xfrm>
            <a:off x="212693" y="194298"/>
            <a:ext cx="8639635" cy="517372"/>
          </a:xfrm>
          <a:prstGeom prst="rect">
            <a:avLst/>
          </a:prstGeom>
        </p:spPr>
        <p:txBody>
          <a:bodyPr lIns="90098" tIns="90098" rIns="90098" bIns="90098" anchor="t"/>
          <a:lstStyle>
            <a:lvl1pPr defTabSz="685874">
              <a:defRPr b="1">
                <a:solidFill>
                  <a:srgbClr val="00467A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Başlık Metni</a:t>
            </a:r>
          </a:p>
        </p:txBody>
      </p:sp>
      <p:sp>
        <p:nvSpPr>
          <p:cNvPr id="406" name="Rectangle: Rounded Corners 28"/>
          <p:cNvSpPr/>
          <p:nvPr/>
        </p:nvSpPr>
        <p:spPr>
          <a:xfrm rot="10800000" flipH="1">
            <a:off x="344104" y="700644"/>
            <a:ext cx="1011143" cy="30377"/>
          </a:xfrm>
          <a:prstGeom prst="roundRect">
            <a:avLst>
              <a:gd name="adj" fmla="val 7201"/>
            </a:avLst>
          </a:prstGeom>
          <a:solidFill>
            <a:srgbClr val="FFC823"/>
          </a:solidFill>
          <a:ln w="12700">
            <a:miter lim="400000"/>
          </a:ln>
          <a:effectLst>
            <a:outerShdw blurRad="1270000" rotWithShape="0">
              <a:srgbClr val="000000">
                <a:alpha val="21000"/>
              </a:srgbClr>
            </a:outerShdw>
          </a:effectLst>
        </p:spPr>
        <p:txBody>
          <a:bodyPr lIns="0" tIns="0" rIns="0" bIns="0" anchor="ctr"/>
          <a:lstStyle/>
          <a:p>
            <a:pPr defTabSz="685874" eaLnBrk="1" fontAlgn="auto" hangingPunct="1">
              <a:spcBef>
                <a:spcPts val="0"/>
              </a:spcBef>
              <a:spcAft>
                <a:spcPts val="0"/>
              </a:spcAft>
              <a:defRPr sz="34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275" b="1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07" name="Resim 27" descr="Resim 27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89061" y="4843490"/>
            <a:ext cx="207924" cy="197305"/>
          </a:xfrm>
          <a:prstGeom prst="rect">
            <a:avLst/>
          </a:prstGeom>
          <a:ln w="12700">
            <a:miter lim="400000"/>
          </a:ln>
        </p:spPr>
      </p:pic>
      <p:pic>
        <p:nvPicPr>
          <p:cNvPr id="408" name="Resim 28" descr="Resim 28"/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7407874" y="4877315"/>
            <a:ext cx="169907" cy="170040"/>
          </a:xfrm>
          <a:prstGeom prst="rect">
            <a:avLst/>
          </a:prstGeom>
          <a:ln w="12700">
            <a:miter lim="400000"/>
          </a:ln>
        </p:spPr>
      </p:pic>
      <p:pic>
        <p:nvPicPr>
          <p:cNvPr id="409" name="Picture 1" descr="Picture 1"/>
          <p:cNvPicPr>
            <a:picLocks noChangeAspect="1"/>
          </p:cNvPicPr>
          <p:nvPr/>
        </p:nvPicPr>
        <p:blipFill>
          <a:blip r:embed="rId9">
            <a:extLst/>
          </a:blip>
          <a:stretch>
            <a:fillRect/>
          </a:stretch>
        </p:blipFill>
        <p:spPr>
          <a:xfrm>
            <a:off x="8313532" y="4887379"/>
            <a:ext cx="133657" cy="154364"/>
          </a:xfrm>
          <a:prstGeom prst="rect">
            <a:avLst/>
          </a:prstGeom>
          <a:ln w="12700">
            <a:miter lim="400000"/>
          </a:ln>
        </p:spPr>
      </p:pic>
      <p:sp>
        <p:nvSpPr>
          <p:cNvPr id="410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8681450" y="4827713"/>
            <a:ext cx="327829" cy="331997"/>
          </a:xfrm>
          <a:prstGeom prst="rect">
            <a:avLst/>
          </a:prstGeom>
        </p:spPr>
        <p:txBody>
          <a:bodyPr lIns="90098" tIns="90098" rIns="90098" bIns="90098" anchor="t"/>
          <a:lstStyle>
            <a:lvl1pPr defTabSz="685874">
              <a:defRPr sz="975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96469812"/>
      </p:ext>
    </p:extLst>
  </p:cSld>
  <p:clrMapOvr>
    <a:masterClrMapping/>
  </p:clrMapOvr>
  <p:transition spd="med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" name="Başlık Metni"/>
          <p:cNvSpPr txBox="1">
            <a:spLocks noGrp="1"/>
          </p:cNvSpPr>
          <p:nvPr>
            <p:ph type="title"/>
          </p:nvPr>
        </p:nvSpPr>
        <p:spPr>
          <a:xfrm>
            <a:off x="1143001" y="841773"/>
            <a:ext cx="6858000" cy="1790700"/>
          </a:xfrm>
          <a:prstGeom prst="rect">
            <a:avLst/>
          </a:prstGeom>
        </p:spPr>
        <p:txBody>
          <a:bodyPr lIns="91439" tIns="91439" rIns="91439" bIns="91439" anchor="b"/>
          <a:lstStyle>
            <a:lvl1pPr algn="ctr" defTabSz="685805">
              <a:defRPr sz="4500"/>
            </a:lvl1pPr>
          </a:lstStyle>
          <a:p>
            <a:r>
              <a:t>Başlık Metni</a:t>
            </a:r>
          </a:p>
        </p:txBody>
      </p:sp>
      <p:sp>
        <p:nvSpPr>
          <p:cNvPr id="418" name="Gövde Düzeyi Bir…"/>
          <p:cNvSpPr txBox="1">
            <a:spLocks noGrp="1"/>
          </p:cNvSpPr>
          <p:nvPr>
            <p:ph type="body" sz="quarter" idx="1"/>
          </p:nvPr>
        </p:nvSpPr>
        <p:spPr>
          <a:xfrm>
            <a:off x="1143001" y="2701529"/>
            <a:ext cx="6858000" cy="1241822"/>
          </a:xfrm>
          <a:prstGeom prst="rect">
            <a:avLst/>
          </a:prstGeom>
        </p:spPr>
        <p:txBody>
          <a:bodyPr lIns="91439" tIns="91439" rIns="91439" bIns="91439"/>
          <a:lstStyle>
            <a:lvl1pPr marL="0" indent="0" algn="ctr" defTabSz="685805">
              <a:spcBef>
                <a:spcPts val="750"/>
              </a:spcBef>
              <a:buSzTx/>
              <a:buFontTx/>
              <a:buNone/>
              <a:defRPr sz="1800"/>
            </a:lvl1pPr>
            <a:lvl2pPr marL="0" indent="171452" algn="ctr" defTabSz="685805">
              <a:spcBef>
                <a:spcPts val="750"/>
              </a:spcBef>
              <a:buSzTx/>
              <a:buFontTx/>
              <a:buNone/>
              <a:defRPr sz="1800"/>
            </a:lvl2pPr>
            <a:lvl3pPr marL="0" indent="342903" algn="ctr" defTabSz="685805">
              <a:spcBef>
                <a:spcPts val="750"/>
              </a:spcBef>
              <a:buSzTx/>
              <a:buFontTx/>
              <a:buNone/>
              <a:defRPr sz="1800"/>
            </a:lvl3pPr>
            <a:lvl4pPr marL="0" indent="514354" algn="ctr" defTabSz="685805">
              <a:spcBef>
                <a:spcPts val="750"/>
              </a:spcBef>
              <a:buSzTx/>
              <a:buFontTx/>
              <a:buNone/>
              <a:defRPr sz="1800"/>
            </a:lvl4pPr>
            <a:lvl5pPr marL="0" indent="685805" algn="ctr" defTabSz="685805">
              <a:spcBef>
                <a:spcPts val="750"/>
              </a:spcBef>
              <a:buSzTx/>
              <a:buFontTx/>
              <a:buNone/>
              <a:defRPr sz="1800"/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419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8196034" y="4742604"/>
            <a:ext cx="319316" cy="323163"/>
          </a:xfrm>
          <a:prstGeom prst="rect">
            <a:avLst/>
          </a:prstGeom>
        </p:spPr>
        <p:txBody>
          <a:bodyPr lIns="91439" tIns="91439" rIns="91439" bIns="91439"/>
          <a:lstStyle>
            <a:lvl1pPr defTabSz="685805">
              <a:defRPr sz="9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49039149"/>
      </p:ext>
    </p:extLst>
  </p:cSld>
  <p:clrMapOvr>
    <a:masterClrMapping/>
  </p:clrMapOvr>
  <p:transition spd="med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E833F-72C6-4E40-811A-E324722C5EEE}" type="datetimeFigureOut">
              <a:rPr lang="en-GB" smtClean="0"/>
              <a:t>24/07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6E0750-846D-470C-BF56-7CE664437A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147695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E833F-72C6-4E40-811A-E324722C5EEE}" type="datetimeFigureOut">
              <a:rPr lang="en-GB" smtClean="0"/>
              <a:t>24/07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6E0750-846D-470C-BF56-7CE664437A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069083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E833F-72C6-4E40-811A-E324722C5EEE}" type="datetimeFigureOut">
              <a:rPr lang="en-GB" smtClean="0"/>
              <a:t>24/07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6E0750-846D-470C-BF56-7CE664437A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12821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/>
          <p:cNvSpPr>
            <a:spLocks noGrp="1"/>
          </p:cNvSpPr>
          <p:nvPr>
            <p:ph sz="quarter" idx="13"/>
          </p:nvPr>
        </p:nvSpPr>
        <p:spPr>
          <a:xfrm>
            <a:off x="1197114" y="1802018"/>
            <a:ext cx="7479342" cy="271394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60"/>
          </p:nvPr>
        </p:nvSpPr>
        <p:spPr>
          <a:xfrm>
            <a:off x="1197114" y="1347614"/>
            <a:ext cx="7479342" cy="36004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6623342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E833F-72C6-4E40-811A-E324722C5EEE}" type="datetimeFigureOut">
              <a:rPr lang="en-GB" smtClean="0"/>
              <a:t>24/07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6E0750-846D-470C-BF56-7CE664437A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103495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E833F-72C6-4E40-811A-E324722C5EEE}" type="datetimeFigureOut">
              <a:rPr lang="en-GB" smtClean="0"/>
              <a:t>24/07/2019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6E0750-846D-470C-BF56-7CE664437A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532683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E833F-72C6-4E40-811A-E324722C5EEE}" type="datetimeFigureOut">
              <a:rPr lang="en-GB" smtClean="0"/>
              <a:t>24/07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6E0750-846D-470C-BF56-7CE664437A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316623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E833F-72C6-4E40-811A-E324722C5EEE}" type="datetimeFigureOut">
              <a:rPr lang="en-GB" smtClean="0"/>
              <a:t>24/07/2019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6E0750-846D-470C-BF56-7CE664437A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556763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E833F-72C6-4E40-811A-E324722C5EEE}" type="datetimeFigureOut">
              <a:rPr lang="en-GB" smtClean="0"/>
              <a:t>24/07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6E0750-846D-470C-BF56-7CE664437A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024818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E833F-72C6-4E40-811A-E324722C5EEE}" type="datetimeFigureOut">
              <a:rPr lang="en-GB" smtClean="0"/>
              <a:t>24/07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6E0750-846D-470C-BF56-7CE664437A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254371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E833F-72C6-4E40-811A-E324722C5EEE}" type="datetimeFigureOut">
              <a:rPr lang="en-GB" smtClean="0"/>
              <a:t>24/07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6E0750-846D-470C-BF56-7CE664437A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717841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E833F-72C6-4E40-811A-E324722C5EEE}" type="datetimeFigureOut">
              <a:rPr lang="en-GB" smtClean="0"/>
              <a:t>24/07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6E0750-846D-470C-BF56-7CE664437A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75445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di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7322" y="1779664"/>
            <a:ext cx="2623930" cy="2545556"/>
          </a:xfrm>
        </p:spPr>
        <p:txBody>
          <a:bodyPr numCol="1">
            <a:normAutofit/>
          </a:bodyPr>
          <a:lstStyle>
            <a:lvl1pPr marL="0" indent="0">
              <a:buNone/>
              <a:defRPr sz="1000" b="1">
                <a:solidFill>
                  <a:schemeClr val="accent5">
                    <a:lumMod val="50000"/>
                  </a:schemeClr>
                </a:solidFill>
              </a:defRPr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40157" y="1779664"/>
            <a:ext cx="5446643" cy="2545556"/>
          </a:xfrm>
        </p:spPr>
        <p:txBody>
          <a:bodyPr numCol="1">
            <a:normAutofit/>
          </a:bodyPr>
          <a:lstStyle>
            <a:lvl1pPr marL="0" indent="0">
              <a:buNone/>
              <a:defRPr sz="900" b="0">
                <a:solidFill>
                  <a:schemeClr val="accent5">
                    <a:lumMod val="50000"/>
                  </a:schemeClr>
                </a:solidFill>
              </a:defRPr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37322" y="805070"/>
            <a:ext cx="8239539" cy="8305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  <a:endParaRPr lang="en-JM" dirty="0"/>
          </a:p>
        </p:txBody>
      </p:sp>
    </p:spTree>
    <p:extLst>
      <p:ext uri="{BB962C8B-B14F-4D97-AF65-F5344CB8AC3E}">
        <p14:creationId xmlns:p14="http://schemas.microsoft.com/office/powerpoint/2010/main" val="10191911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ding content_No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7322" y="1534332"/>
            <a:ext cx="2623930" cy="2790888"/>
          </a:xfrm>
        </p:spPr>
        <p:txBody>
          <a:bodyPr numCol="1">
            <a:normAutofit/>
          </a:bodyPr>
          <a:lstStyle>
            <a:lvl1pPr marL="0" indent="0">
              <a:buNone/>
              <a:defRPr sz="900" b="0">
                <a:solidFill>
                  <a:schemeClr val="accent5">
                    <a:lumMod val="50000"/>
                  </a:schemeClr>
                </a:solidFill>
              </a:defRPr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40157" y="1103313"/>
            <a:ext cx="5446643" cy="3221977"/>
          </a:xfrm>
        </p:spPr>
        <p:txBody>
          <a:bodyPr numCol="1">
            <a:normAutofit/>
          </a:bodyPr>
          <a:lstStyle>
            <a:lvl1pPr marL="0" indent="0">
              <a:buNone/>
              <a:defRPr sz="1200">
                <a:solidFill>
                  <a:srgbClr val="DE002B"/>
                </a:solidFill>
              </a:defRPr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103313"/>
            <a:ext cx="2617788" cy="431019"/>
          </a:xfrm>
        </p:spPr>
        <p:txBody>
          <a:bodyPr numCol="1">
            <a:normAutofit/>
          </a:bodyPr>
          <a:lstStyle>
            <a:lvl1pPr marL="0" indent="0">
              <a:buNone/>
              <a:defRPr sz="1800" b="0">
                <a:solidFill>
                  <a:srgbClr val="DE002B"/>
                </a:solidFill>
              </a:defRPr>
            </a:lvl1pPr>
            <a:lvl2pPr marL="223837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Subtitl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8864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472" y="917179"/>
            <a:ext cx="8229600" cy="765401"/>
          </a:xfrm>
        </p:spPr>
        <p:txBody>
          <a:bodyPr/>
          <a:lstStyle>
            <a:lvl1pPr>
              <a:defRPr>
                <a:solidFill>
                  <a:srgbClr val="DE002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418535" y="1835841"/>
            <a:ext cx="8237537" cy="2852396"/>
          </a:xfrm>
        </p:spPr>
        <p:txBody>
          <a:bodyPr/>
          <a:lstStyle>
            <a:lvl1pPr>
              <a:buClr>
                <a:srgbClr val="DE002B"/>
              </a:buClr>
              <a:defRPr baseline="0">
                <a:solidFill>
                  <a:srgbClr val="DE002B"/>
                </a:solidFill>
              </a:defRPr>
            </a:lvl1pPr>
            <a:lvl2pPr>
              <a:defRPr baseline="0">
                <a:solidFill>
                  <a:schemeClr val="accent5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 dirty="0"/>
              <a:t>This is the intro text style </a:t>
            </a:r>
          </a:p>
          <a:p>
            <a:pPr lvl="1"/>
            <a:r>
              <a:rPr lang="en-US" dirty="0"/>
              <a:t>Example of sub bullet</a:t>
            </a:r>
          </a:p>
        </p:txBody>
      </p:sp>
    </p:spTree>
    <p:extLst>
      <p:ext uri="{BB962C8B-B14F-4D97-AF65-F5344CB8AC3E}">
        <p14:creationId xmlns:p14="http://schemas.microsoft.com/office/powerpoint/2010/main" val="24756330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tri column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04687" y="3255857"/>
            <a:ext cx="2156565" cy="1561419"/>
          </a:xfrm>
        </p:spPr>
        <p:txBody>
          <a:bodyPr numCol="1">
            <a:normAutofit/>
          </a:bodyPr>
          <a:lstStyle>
            <a:lvl1pPr marL="0" indent="0">
              <a:buNone/>
              <a:defRPr sz="900" b="0">
                <a:solidFill>
                  <a:schemeClr val="accent5">
                    <a:lumMod val="50000"/>
                  </a:schemeClr>
                </a:solidFill>
              </a:defRPr>
            </a:lvl1pPr>
            <a:lvl2pPr marL="342900" indent="0">
              <a:buNone/>
              <a:defRPr sz="1200"/>
            </a:lvl2pPr>
            <a:lvl3pPr marL="685800" indent="0">
              <a:buNone/>
              <a:defRPr sz="105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013239" y="3162674"/>
            <a:ext cx="356400" cy="18000"/>
          </a:xfrm>
          <a:prstGeom prst="rect">
            <a:avLst/>
          </a:prstGeom>
          <a:solidFill>
            <a:srgbClr val="28BC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829159" y="929898"/>
            <a:ext cx="2231541" cy="1580907"/>
          </a:xfrm>
          <a:prstGeom prst="roundRect">
            <a:avLst>
              <a:gd name="adj" fmla="val 9288"/>
            </a:avLst>
          </a:prstGeom>
        </p:spPr>
        <p:txBody>
          <a:bodyPr numCol="1"/>
          <a:lstStyle>
            <a:lvl1pPr>
              <a:defRPr>
                <a:solidFill>
                  <a:srgbClr val="DE002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04687" y="2650857"/>
            <a:ext cx="2085975" cy="457200"/>
          </a:xfrm>
        </p:spPr>
        <p:txBody>
          <a:bodyPr numCol="1">
            <a:noAutofit/>
          </a:bodyPr>
          <a:lstStyle>
            <a:lvl1pPr marL="0" indent="0">
              <a:buNone/>
              <a:defRPr sz="2220" baseline="0">
                <a:solidFill>
                  <a:srgbClr val="DE002B"/>
                </a:solidFill>
              </a:defRPr>
            </a:lvl1pPr>
          </a:lstStyle>
          <a:p>
            <a:pPr lvl="0"/>
            <a:r>
              <a:rPr lang="en-US"/>
              <a:t>Image Title 1</a:t>
            </a:r>
            <a:endParaRPr lang="en-US" dirty="0"/>
          </a:p>
        </p:txBody>
      </p:sp>
      <p:sp>
        <p:nvSpPr>
          <p:cNvPr id="20" name="Content Placeholder 3"/>
          <p:cNvSpPr>
            <a:spLocks noGrp="1"/>
          </p:cNvSpPr>
          <p:nvPr>
            <p:ph sz="half" idx="17"/>
          </p:nvPr>
        </p:nvSpPr>
        <p:spPr>
          <a:xfrm>
            <a:off x="3523901" y="3255857"/>
            <a:ext cx="2156565" cy="1561419"/>
          </a:xfrm>
        </p:spPr>
        <p:txBody>
          <a:bodyPr numCol="1">
            <a:normAutofit/>
          </a:bodyPr>
          <a:lstStyle>
            <a:lvl1pPr marL="0" indent="0">
              <a:buNone/>
              <a:defRPr sz="900" b="0">
                <a:solidFill>
                  <a:schemeClr val="accent5">
                    <a:lumMod val="50000"/>
                  </a:schemeClr>
                </a:solidFill>
              </a:defRPr>
            </a:lvl1pPr>
            <a:lvl2pPr marL="342900" indent="0">
              <a:buNone/>
              <a:defRPr sz="1200"/>
            </a:lvl2pPr>
            <a:lvl3pPr marL="685800" indent="0">
              <a:buNone/>
              <a:defRPr sz="105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3632453" y="3162674"/>
            <a:ext cx="356400" cy="18000"/>
          </a:xfrm>
          <a:prstGeom prst="rect">
            <a:avLst/>
          </a:prstGeom>
          <a:solidFill>
            <a:srgbClr val="28BC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3448373" y="929898"/>
            <a:ext cx="2231541" cy="1580907"/>
          </a:xfrm>
          <a:prstGeom prst="roundRect">
            <a:avLst>
              <a:gd name="adj" fmla="val 9288"/>
            </a:avLst>
          </a:prstGeom>
        </p:spPr>
        <p:txBody>
          <a:bodyPr numCol="1"/>
          <a:lstStyle>
            <a:lvl1pPr>
              <a:defRPr>
                <a:solidFill>
                  <a:srgbClr val="DE002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523901" y="2650857"/>
            <a:ext cx="2085975" cy="457200"/>
          </a:xfrm>
        </p:spPr>
        <p:txBody>
          <a:bodyPr numCol="1">
            <a:noAutofit/>
          </a:bodyPr>
          <a:lstStyle>
            <a:lvl1pPr marL="0" indent="0">
              <a:buNone/>
              <a:defRPr sz="2220" baseline="0">
                <a:solidFill>
                  <a:srgbClr val="DE002B"/>
                </a:solidFill>
              </a:defRPr>
            </a:lvl1pPr>
          </a:lstStyle>
          <a:p>
            <a:pPr lvl="0"/>
            <a:r>
              <a:rPr lang="en-US"/>
              <a:t>Image Title 1</a:t>
            </a:r>
            <a:endParaRPr lang="en-US" dirty="0"/>
          </a:p>
        </p:txBody>
      </p:sp>
      <p:sp>
        <p:nvSpPr>
          <p:cNvPr id="24" name="Content Placeholder 3"/>
          <p:cNvSpPr>
            <a:spLocks noGrp="1"/>
          </p:cNvSpPr>
          <p:nvPr>
            <p:ph sz="half" idx="20"/>
          </p:nvPr>
        </p:nvSpPr>
        <p:spPr>
          <a:xfrm>
            <a:off x="6158613" y="3255857"/>
            <a:ext cx="2156565" cy="1561419"/>
          </a:xfrm>
        </p:spPr>
        <p:txBody>
          <a:bodyPr numCol="1">
            <a:normAutofit/>
          </a:bodyPr>
          <a:lstStyle>
            <a:lvl1pPr marL="0" indent="0">
              <a:buNone/>
              <a:defRPr sz="900" b="0">
                <a:solidFill>
                  <a:schemeClr val="accent5">
                    <a:lumMod val="50000"/>
                  </a:schemeClr>
                </a:solidFill>
              </a:defRPr>
            </a:lvl1pPr>
            <a:lvl2pPr marL="342900" indent="0">
              <a:buNone/>
              <a:defRPr sz="1200"/>
            </a:lvl2pPr>
            <a:lvl3pPr marL="685800" indent="0">
              <a:buNone/>
              <a:defRPr sz="105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6267165" y="3162674"/>
            <a:ext cx="356400" cy="18000"/>
          </a:xfrm>
          <a:prstGeom prst="rect">
            <a:avLst/>
          </a:prstGeom>
          <a:solidFill>
            <a:srgbClr val="28BC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083085" y="929898"/>
            <a:ext cx="2231541" cy="1580907"/>
          </a:xfrm>
          <a:prstGeom prst="roundRect">
            <a:avLst>
              <a:gd name="adj" fmla="val 9288"/>
            </a:avLst>
          </a:prstGeom>
        </p:spPr>
        <p:txBody>
          <a:bodyPr numCol="1"/>
          <a:lstStyle>
            <a:lvl1pPr>
              <a:defRPr>
                <a:solidFill>
                  <a:srgbClr val="DE002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158613" y="2650857"/>
            <a:ext cx="2085975" cy="457200"/>
          </a:xfrm>
        </p:spPr>
        <p:txBody>
          <a:bodyPr numCol="1">
            <a:noAutofit/>
          </a:bodyPr>
          <a:lstStyle>
            <a:lvl1pPr marL="0" indent="0">
              <a:buNone/>
              <a:defRPr sz="2220" baseline="0">
                <a:solidFill>
                  <a:srgbClr val="DE002B"/>
                </a:solidFill>
              </a:defRPr>
            </a:lvl1pPr>
          </a:lstStyle>
          <a:p>
            <a:pPr lvl="0"/>
            <a:r>
              <a:rPr lang="en-US"/>
              <a:t>Image Title 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72351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image tri column w">
    <p:bg>
      <p:bgPr>
        <a:solidFill>
          <a:srgbClr val="111F3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04687" y="3255857"/>
            <a:ext cx="2156565" cy="1561419"/>
          </a:xfrm>
        </p:spPr>
        <p:txBody>
          <a:bodyPr numCol="1">
            <a:normAutofit/>
          </a:bodyPr>
          <a:lstStyle>
            <a:lvl1pPr marL="0" indent="0">
              <a:buNone/>
              <a:defRPr sz="900" b="0">
                <a:solidFill>
                  <a:schemeClr val="bg1"/>
                </a:solidFill>
              </a:defRPr>
            </a:lvl1pPr>
            <a:lvl2pPr marL="342900" indent="0">
              <a:buNone/>
              <a:defRPr sz="1200"/>
            </a:lvl2pPr>
            <a:lvl3pPr marL="685800" indent="0">
              <a:buNone/>
              <a:defRPr sz="105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013239" y="3162674"/>
            <a:ext cx="356400" cy="18000"/>
          </a:xfrm>
          <a:prstGeom prst="rect">
            <a:avLst/>
          </a:prstGeom>
          <a:solidFill>
            <a:srgbClr val="28BC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829159" y="929898"/>
            <a:ext cx="2231541" cy="1580907"/>
          </a:xfrm>
          <a:prstGeom prst="roundRect">
            <a:avLst>
              <a:gd name="adj" fmla="val 9288"/>
            </a:avLst>
          </a:prstGeom>
        </p:spPr>
        <p:txBody>
          <a:bodyPr numCol="1"/>
          <a:lstStyle>
            <a:lvl1pPr>
              <a:defRPr>
                <a:solidFill>
                  <a:srgbClr val="DE002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04687" y="2650857"/>
            <a:ext cx="2085975" cy="457200"/>
          </a:xfrm>
        </p:spPr>
        <p:txBody>
          <a:bodyPr numCol="1">
            <a:noAutofit/>
          </a:bodyPr>
          <a:lstStyle>
            <a:lvl1pPr marL="0" indent="0">
              <a:buNone/>
              <a:defRPr sz="2220" baseline="0">
                <a:solidFill>
                  <a:srgbClr val="DE002B"/>
                </a:solidFill>
              </a:defRPr>
            </a:lvl1pPr>
          </a:lstStyle>
          <a:p>
            <a:pPr lvl="0"/>
            <a:r>
              <a:rPr lang="en-US"/>
              <a:t>Image Title 1</a:t>
            </a:r>
            <a:endParaRPr lang="en-US" dirty="0"/>
          </a:p>
        </p:txBody>
      </p:sp>
      <p:sp>
        <p:nvSpPr>
          <p:cNvPr id="20" name="Content Placeholder 3"/>
          <p:cNvSpPr>
            <a:spLocks noGrp="1"/>
          </p:cNvSpPr>
          <p:nvPr>
            <p:ph sz="half" idx="17"/>
          </p:nvPr>
        </p:nvSpPr>
        <p:spPr>
          <a:xfrm>
            <a:off x="3523901" y="3255857"/>
            <a:ext cx="2156565" cy="1561419"/>
          </a:xfrm>
        </p:spPr>
        <p:txBody>
          <a:bodyPr numCol="1">
            <a:normAutofit/>
          </a:bodyPr>
          <a:lstStyle>
            <a:lvl1pPr marL="0" indent="0">
              <a:buNone/>
              <a:defRPr sz="900" b="0">
                <a:solidFill>
                  <a:schemeClr val="bg1"/>
                </a:solidFill>
              </a:defRPr>
            </a:lvl1pPr>
            <a:lvl2pPr marL="342900" indent="0">
              <a:buNone/>
              <a:defRPr sz="1200"/>
            </a:lvl2pPr>
            <a:lvl3pPr marL="685800" indent="0">
              <a:buNone/>
              <a:defRPr sz="105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3632453" y="3162674"/>
            <a:ext cx="356400" cy="18000"/>
          </a:xfrm>
          <a:prstGeom prst="rect">
            <a:avLst/>
          </a:prstGeom>
          <a:solidFill>
            <a:srgbClr val="28BC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3448373" y="929898"/>
            <a:ext cx="2231541" cy="1580907"/>
          </a:xfrm>
          <a:prstGeom prst="roundRect">
            <a:avLst>
              <a:gd name="adj" fmla="val 9288"/>
            </a:avLst>
          </a:prstGeom>
        </p:spPr>
        <p:txBody>
          <a:bodyPr numCol="1"/>
          <a:lstStyle>
            <a:lvl1pPr>
              <a:defRPr>
                <a:solidFill>
                  <a:srgbClr val="DE002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523901" y="2650857"/>
            <a:ext cx="2085975" cy="457200"/>
          </a:xfrm>
        </p:spPr>
        <p:txBody>
          <a:bodyPr numCol="1">
            <a:noAutofit/>
          </a:bodyPr>
          <a:lstStyle>
            <a:lvl1pPr marL="0" indent="0">
              <a:buNone/>
              <a:defRPr sz="2220" baseline="0">
                <a:solidFill>
                  <a:srgbClr val="DE002B"/>
                </a:solidFill>
              </a:defRPr>
            </a:lvl1pPr>
          </a:lstStyle>
          <a:p>
            <a:pPr lvl="0"/>
            <a:r>
              <a:rPr lang="en-US"/>
              <a:t>Image Title 1</a:t>
            </a:r>
            <a:endParaRPr lang="en-US" dirty="0"/>
          </a:p>
        </p:txBody>
      </p:sp>
      <p:sp>
        <p:nvSpPr>
          <p:cNvPr id="24" name="Content Placeholder 3"/>
          <p:cNvSpPr>
            <a:spLocks noGrp="1"/>
          </p:cNvSpPr>
          <p:nvPr>
            <p:ph sz="half" idx="20"/>
          </p:nvPr>
        </p:nvSpPr>
        <p:spPr>
          <a:xfrm>
            <a:off x="6158613" y="3255857"/>
            <a:ext cx="2156565" cy="1561419"/>
          </a:xfrm>
        </p:spPr>
        <p:txBody>
          <a:bodyPr numCol="1">
            <a:normAutofit/>
          </a:bodyPr>
          <a:lstStyle>
            <a:lvl1pPr marL="0" indent="0">
              <a:buNone/>
              <a:defRPr sz="900" b="0">
                <a:solidFill>
                  <a:schemeClr val="bg1"/>
                </a:solidFill>
              </a:defRPr>
            </a:lvl1pPr>
            <a:lvl2pPr marL="342900" indent="0">
              <a:buNone/>
              <a:defRPr sz="1200"/>
            </a:lvl2pPr>
            <a:lvl3pPr marL="685800" indent="0">
              <a:buNone/>
              <a:defRPr sz="105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6267165" y="3162674"/>
            <a:ext cx="356400" cy="18000"/>
          </a:xfrm>
          <a:prstGeom prst="rect">
            <a:avLst/>
          </a:prstGeom>
          <a:solidFill>
            <a:srgbClr val="28BC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083085" y="929898"/>
            <a:ext cx="2231541" cy="1580907"/>
          </a:xfrm>
          <a:prstGeom prst="roundRect">
            <a:avLst>
              <a:gd name="adj" fmla="val 9288"/>
            </a:avLst>
          </a:prstGeom>
        </p:spPr>
        <p:txBody>
          <a:bodyPr numCol="1"/>
          <a:lstStyle>
            <a:lvl1pPr>
              <a:defRPr>
                <a:solidFill>
                  <a:srgbClr val="DE002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158613" y="2650857"/>
            <a:ext cx="2085975" cy="457200"/>
          </a:xfrm>
        </p:spPr>
        <p:txBody>
          <a:bodyPr numCol="1">
            <a:noAutofit/>
          </a:bodyPr>
          <a:lstStyle>
            <a:lvl1pPr marL="0" indent="0">
              <a:buNone/>
              <a:defRPr sz="2220" baseline="0">
                <a:solidFill>
                  <a:srgbClr val="DE002B"/>
                </a:solidFill>
              </a:defRPr>
            </a:lvl1pPr>
          </a:lstStyle>
          <a:p>
            <a:pPr lvl="0"/>
            <a:r>
              <a:rPr lang="en-US"/>
              <a:t>Image Title 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92688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485900"/>
            <a:ext cx="9144000" cy="3657600"/>
          </a:xfrm>
        </p:spPr>
        <p:txBody>
          <a:bodyPr tIns="432000" numCol="1"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Click on the button bellow </a:t>
            </a:r>
            <a:br>
              <a:rPr lang="en-US" dirty="0"/>
            </a:br>
            <a:r>
              <a:rPr lang="en-US" dirty="0"/>
              <a:t>or </a:t>
            </a:r>
            <a:br>
              <a:rPr lang="en-US" dirty="0"/>
            </a:br>
            <a:r>
              <a:rPr lang="en-US" dirty="0"/>
              <a:t>drag and drop image here</a:t>
            </a:r>
            <a:endParaRPr lang="en-JM" dirty="0"/>
          </a:p>
        </p:txBody>
      </p:sp>
    </p:spTree>
    <p:extLst>
      <p:ext uri="{BB962C8B-B14F-4D97-AF65-F5344CB8AC3E}">
        <p14:creationId xmlns:p14="http://schemas.microsoft.com/office/powerpoint/2010/main" val="22088746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44755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1086359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7114" y="1347614"/>
            <a:ext cx="7399312" cy="3185146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800">
                <a:solidFill>
                  <a:schemeClr val="tx2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2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2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2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455632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51956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object 45"/>
          <p:cNvSpPr/>
          <p:nvPr userDrawn="1"/>
        </p:nvSpPr>
        <p:spPr>
          <a:xfrm>
            <a:off x="1197114" y="1059582"/>
            <a:ext cx="7395666" cy="3515412"/>
          </a:xfrm>
          <a:custGeom>
            <a:avLst/>
            <a:gdLst/>
            <a:ahLst/>
            <a:cxnLst/>
            <a:rect l="l" t="t" r="r" b="b"/>
            <a:pathLst>
              <a:path w="2585085" h="1941829">
                <a:moveTo>
                  <a:pt x="0" y="1941576"/>
                </a:moveTo>
                <a:lnTo>
                  <a:pt x="2584704" y="1941576"/>
                </a:lnTo>
                <a:lnTo>
                  <a:pt x="2584704" y="0"/>
                </a:lnTo>
                <a:lnTo>
                  <a:pt x="0" y="0"/>
                </a:lnTo>
                <a:lnTo>
                  <a:pt x="0" y="1941576"/>
                </a:lnTo>
                <a:close/>
              </a:path>
            </a:pathLst>
          </a:custGeom>
          <a:solidFill>
            <a:srgbClr val="F2F2F2">
              <a:alpha val="50196"/>
            </a:srgbClr>
          </a:solidFill>
        </p:spPr>
        <p:txBody>
          <a:bodyPr wrap="square" lIns="72000" tIns="36000" rIns="72000" bIns="36000" rtlCol="0"/>
          <a:lstStyle/>
          <a:p>
            <a:pPr marR="5080">
              <a:spcBef>
                <a:spcPts val="470"/>
              </a:spcBef>
              <a:buClr>
                <a:srgbClr val="E30613"/>
              </a:buClr>
              <a:tabLst>
                <a:tab pos="355600" algn="l"/>
              </a:tabLst>
            </a:pPr>
            <a:r>
              <a:rPr lang="en-US" sz="1600" b="1" spc="-5" dirty="0">
                <a:solidFill>
                  <a:srgbClr val="5C5C5C"/>
                </a:solidFill>
                <a:latin typeface="+mj-lt"/>
                <a:cs typeface="Arial"/>
              </a:rPr>
              <a:t>Sub-heading</a:t>
            </a:r>
          </a:p>
          <a:p>
            <a:pPr marR="508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tabLst>
                <a:tab pos="355600" algn="l"/>
              </a:tabLst>
            </a:pPr>
            <a:endParaRPr lang="en-US" sz="400" spc="-5" dirty="0">
              <a:solidFill>
                <a:srgbClr val="5C5C5C"/>
              </a:solidFill>
              <a:latin typeface="+mj-lt"/>
              <a:cs typeface="Arial"/>
            </a:endParaRP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600" spc="-5" dirty="0">
                <a:solidFill>
                  <a:srgbClr val="5C5C5C"/>
                </a:solidFill>
                <a:latin typeface="+mj-lt"/>
                <a:cs typeface="Arial"/>
              </a:rPr>
              <a:t>Copy this box in your</a:t>
            </a:r>
            <a:r>
              <a:rPr lang="en-US" sz="1600" spc="-5" baseline="0" dirty="0">
                <a:solidFill>
                  <a:srgbClr val="5C5C5C"/>
                </a:solidFill>
                <a:latin typeface="+mj-lt"/>
                <a:cs typeface="Arial"/>
              </a:rPr>
              <a:t> slide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600" spc="-5" baseline="0" dirty="0">
                <a:solidFill>
                  <a:srgbClr val="5C5C5C"/>
                </a:solidFill>
                <a:latin typeface="+mj-lt"/>
                <a:cs typeface="Arial"/>
              </a:rPr>
              <a:t>Change the bullet spacing by selecting the bullets, then right click and select paragraph from context menu. Change spacing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600" spc="-5" baseline="0" dirty="0">
                <a:solidFill>
                  <a:srgbClr val="5C5C5C"/>
                </a:solidFill>
                <a:latin typeface="+mj-lt"/>
                <a:cs typeface="Arial"/>
              </a:rPr>
              <a:t>Try not to go beyond level 2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600" spc="-5" baseline="0" dirty="0">
                <a:solidFill>
                  <a:srgbClr val="5C5C5C"/>
                </a:solidFill>
                <a:latin typeface="+mj-lt"/>
                <a:cs typeface="Arial"/>
              </a:rPr>
              <a:t>Font size for level 1 is 14</a:t>
            </a:r>
          </a:p>
          <a:p>
            <a:pPr marL="673200" marR="5080" lvl="1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Font size for level 2 is14</a:t>
            </a:r>
            <a:endParaRPr lang="en-US" sz="1400" spc="-5" dirty="0">
              <a:solidFill>
                <a:srgbClr val="5C5C5C"/>
              </a:solidFill>
              <a:latin typeface="+mj-lt"/>
              <a:cs typeface="Arial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197114" y="1347614"/>
            <a:ext cx="7395666" cy="0"/>
          </a:xfrm>
          <a:prstGeom prst="line">
            <a:avLst/>
          </a:prstGeom>
          <a:noFill/>
          <a:ln w="38100" cap="flat" cmpd="sng" algn="ctr">
            <a:solidFill>
              <a:srgbClr val="E30613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6799628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44755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3" name="object 45"/>
          <p:cNvSpPr/>
          <p:nvPr userDrawn="1"/>
        </p:nvSpPr>
        <p:spPr>
          <a:xfrm>
            <a:off x="4645026" y="1072562"/>
            <a:ext cx="4031430" cy="3515412"/>
          </a:xfrm>
          <a:custGeom>
            <a:avLst/>
            <a:gdLst/>
            <a:ahLst/>
            <a:cxnLst/>
            <a:rect l="l" t="t" r="r" b="b"/>
            <a:pathLst>
              <a:path w="2585085" h="1941829">
                <a:moveTo>
                  <a:pt x="0" y="1941576"/>
                </a:moveTo>
                <a:lnTo>
                  <a:pt x="2584704" y="1941576"/>
                </a:lnTo>
                <a:lnTo>
                  <a:pt x="2584704" y="0"/>
                </a:lnTo>
                <a:lnTo>
                  <a:pt x="0" y="0"/>
                </a:lnTo>
                <a:lnTo>
                  <a:pt x="0" y="1941576"/>
                </a:lnTo>
                <a:close/>
              </a:path>
            </a:pathLst>
          </a:custGeom>
          <a:solidFill>
            <a:srgbClr val="F2F2F2">
              <a:alpha val="50196"/>
            </a:srgbClr>
          </a:solidFill>
        </p:spPr>
        <p:txBody>
          <a:bodyPr wrap="square" lIns="72000" tIns="36000" rIns="72000" bIns="36000" rtlCol="0"/>
          <a:lstStyle/>
          <a:p>
            <a:pPr marR="5080">
              <a:spcBef>
                <a:spcPts val="470"/>
              </a:spcBef>
              <a:buClr>
                <a:srgbClr val="E30613"/>
              </a:buClr>
              <a:tabLst>
                <a:tab pos="355600" algn="l"/>
              </a:tabLst>
            </a:pPr>
            <a:r>
              <a:rPr lang="en-US" sz="1400" b="1" spc="-5" dirty="0">
                <a:solidFill>
                  <a:srgbClr val="5C5C5C"/>
                </a:solidFill>
                <a:latin typeface="+mj-lt"/>
                <a:cs typeface="Arial"/>
              </a:rPr>
              <a:t>Sub-heading</a:t>
            </a:r>
          </a:p>
          <a:p>
            <a:pPr marR="508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tabLst>
                <a:tab pos="355600" algn="l"/>
              </a:tabLst>
            </a:pPr>
            <a:endParaRPr lang="en-US" sz="400" spc="-5" dirty="0">
              <a:solidFill>
                <a:srgbClr val="5C5C5C"/>
              </a:solidFill>
              <a:latin typeface="+mj-lt"/>
              <a:cs typeface="Arial"/>
            </a:endParaRP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dirty="0">
                <a:solidFill>
                  <a:srgbClr val="5C5C5C"/>
                </a:solidFill>
                <a:latin typeface="+mj-lt"/>
                <a:cs typeface="Arial"/>
              </a:rPr>
              <a:t>Copy this box in your</a:t>
            </a: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 slide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Change the bullet spacing by selecting the bullets, then right click and select paragraph from context menu. Change spacing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Try not to go beyond level 2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Font size for level 1 is 14</a:t>
            </a:r>
          </a:p>
          <a:p>
            <a:pPr marL="673200" marR="5080" lvl="1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Font size for level 2 also 14 (may change to 12)  </a:t>
            </a:r>
            <a:endParaRPr lang="en-US" sz="1400" spc="-5" dirty="0">
              <a:solidFill>
                <a:srgbClr val="5C5C5C"/>
              </a:solidFill>
              <a:latin typeface="+mj-lt"/>
              <a:cs typeface="Arial"/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645026" y="1392235"/>
            <a:ext cx="4031430" cy="0"/>
          </a:xfrm>
          <a:prstGeom prst="line">
            <a:avLst/>
          </a:prstGeom>
          <a:noFill/>
          <a:ln w="38100" cap="flat" cmpd="sng" algn="ctr">
            <a:solidFill>
              <a:srgbClr val="E30613"/>
            </a:solidFill>
            <a:prstDash val="solid"/>
          </a:ln>
          <a:effectLst/>
        </p:spPr>
      </p:cxnSp>
      <p:sp>
        <p:nvSpPr>
          <p:cNvPr id="15" name="object 45"/>
          <p:cNvSpPr/>
          <p:nvPr userDrawn="1"/>
        </p:nvSpPr>
        <p:spPr>
          <a:xfrm>
            <a:off x="420688" y="1072562"/>
            <a:ext cx="4031430" cy="3515412"/>
          </a:xfrm>
          <a:custGeom>
            <a:avLst/>
            <a:gdLst/>
            <a:ahLst/>
            <a:cxnLst/>
            <a:rect l="l" t="t" r="r" b="b"/>
            <a:pathLst>
              <a:path w="2585085" h="1941829">
                <a:moveTo>
                  <a:pt x="0" y="1941576"/>
                </a:moveTo>
                <a:lnTo>
                  <a:pt x="2584704" y="1941576"/>
                </a:lnTo>
                <a:lnTo>
                  <a:pt x="2584704" y="0"/>
                </a:lnTo>
                <a:lnTo>
                  <a:pt x="0" y="0"/>
                </a:lnTo>
                <a:lnTo>
                  <a:pt x="0" y="1941576"/>
                </a:lnTo>
                <a:close/>
              </a:path>
            </a:pathLst>
          </a:custGeom>
          <a:solidFill>
            <a:srgbClr val="F2F2F2">
              <a:alpha val="50196"/>
            </a:srgbClr>
          </a:solidFill>
        </p:spPr>
        <p:txBody>
          <a:bodyPr wrap="square" lIns="72000" tIns="36000" rIns="72000" bIns="36000" rtlCol="0"/>
          <a:lstStyle/>
          <a:p>
            <a:pPr marR="5080">
              <a:spcBef>
                <a:spcPts val="470"/>
              </a:spcBef>
              <a:buClr>
                <a:srgbClr val="E30613"/>
              </a:buClr>
              <a:tabLst>
                <a:tab pos="355600" algn="l"/>
              </a:tabLst>
            </a:pPr>
            <a:r>
              <a:rPr lang="en-US" sz="1400" b="1" spc="-5" dirty="0">
                <a:solidFill>
                  <a:srgbClr val="5C5C5C"/>
                </a:solidFill>
                <a:latin typeface="+mj-lt"/>
                <a:cs typeface="Arial"/>
              </a:rPr>
              <a:t>Sub-heading</a:t>
            </a:r>
          </a:p>
          <a:p>
            <a:pPr marR="508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tabLst>
                <a:tab pos="355600" algn="l"/>
              </a:tabLst>
            </a:pPr>
            <a:endParaRPr lang="en-US" sz="400" spc="-5" dirty="0">
              <a:solidFill>
                <a:srgbClr val="5C5C5C"/>
              </a:solidFill>
              <a:latin typeface="+mj-lt"/>
              <a:cs typeface="Arial"/>
            </a:endParaRP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dirty="0">
                <a:solidFill>
                  <a:srgbClr val="5C5C5C"/>
                </a:solidFill>
                <a:latin typeface="+mj-lt"/>
                <a:cs typeface="Arial"/>
              </a:rPr>
              <a:t>Copy this box in your</a:t>
            </a: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 slide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Change the bullet spacing by selecting the bullets, then right click and select paragraph from context menu. Change spacing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Try not to go beyond level 2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Font size for level 1 is 14</a:t>
            </a:r>
          </a:p>
          <a:p>
            <a:pPr marL="673200" marR="5080" lvl="1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Font size for level 2 also 14 (may change to 12)  </a:t>
            </a:r>
            <a:endParaRPr lang="en-US" sz="1400" spc="-5" dirty="0">
              <a:solidFill>
                <a:srgbClr val="5C5C5C"/>
              </a:solidFill>
              <a:latin typeface="+mj-lt"/>
              <a:cs typeface="Arial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20688" y="1392235"/>
            <a:ext cx="4031430" cy="0"/>
          </a:xfrm>
          <a:prstGeom prst="line">
            <a:avLst/>
          </a:prstGeom>
          <a:noFill/>
          <a:ln w="38100" cap="flat" cmpd="sng" algn="ctr">
            <a:solidFill>
              <a:srgbClr val="E30613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2104076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51956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1" name="object 45"/>
          <p:cNvSpPr/>
          <p:nvPr userDrawn="1"/>
        </p:nvSpPr>
        <p:spPr>
          <a:xfrm>
            <a:off x="6084168" y="1080000"/>
            <a:ext cx="2592000" cy="3515412"/>
          </a:xfrm>
          <a:custGeom>
            <a:avLst/>
            <a:gdLst/>
            <a:ahLst/>
            <a:cxnLst/>
            <a:rect l="l" t="t" r="r" b="b"/>
            <a:pathLst>
              <a:path w="2585085" h="1941829">
                <a:moveTo>
                  <a:pt x="0" y="1941576"/>
                </a:moveTo>
                <a:lnTo>
                  <a:pt x="2584704" y="1941576"/>
                </a:lnTo>
                <a:lnTo>
                  <a:pt x="2584704" y="0"/>
                </a:lnTo>
                <a:lnTo>
                  <a:pt x="0" y="0"/>
                </a:lnTo>
                <a:lnTo>
                  <a:pt x="0" y="1941576"/>
                </a:lnTo>
                <a:close/>
              </a:path>
            </a:pathLst>
          </a:custGeom>
          <a:solidFill>
            <a:srgbClr val="F2F2F2">
              <a:alpha val="50196"/>
            </a:srgbClr>
          </a:solidFill>
        </p:spPr>
        <p:txBody>
          <a:bodyPr wrap="square" lIns="72000" tIns="36000" rIns="72000" bIns="36000" rtlCol="0"/>
          <a:lstStyle/>
          <a:p>
            <a:pPr marR="5080">
              <a:spcBef>
                <a:spcPts val="470"/>
              </a:spcBef>
              <a:buClr>
                <a:srgbClr val="E30613"/>
              </a:buClr>
              <a:tabLst>
                <a:tab pos="355600" algn="l"/>
              </a:tabLst>
            </a:pPr>
            <a:r>
              <a:rPr lang="en-US" sz="1400" b="1" spc="-5" dirty="0">
                <a:solidFill>
                  <a:srgbClr val="5C5C5C"/>
                </a:solidFill>
                <a:latin typeface="+mj-lt"/>
                <a:cs typeface="Arial"/>
              </a:rPr>
              <a:t>Sub-heading</a:t>
            </a:r>
          </a:p>
          <a:p>
            <a:pPr marR="508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tabLst>
                <a:tab pos="355600" algn="l"/>
              </a:tabLst>
            </a:pPr>
            <a:endParaRPr lang="en-US" sz="400" spc="-5" dirty="0">
              <a:solidFill>
                <a:srgbClr val="5C5C5C"/>
              </a:solidFill>
              <a:latin typeface="+mj-lt"/>
              <a:cs typeface="Arial"/>
            </a:endParaRP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dirty="0">
                <a:solidFill>
                  <a:srgbClr val="5C5C5C"/>
                </a:solidFill>
                <a:latin typeface="+mj-lt"/>
                <a:cs typeface="Arial"/>
              </a:rPr>
              <a:t>Copy this box in your</a:t>
            </a: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 slide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Change the bullet spacing by selecting the bullets, then right click and select paragraph from context menu. Change spacing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Font size for level 1 is 14</a:t>
            </a:r>
          </a:p>
          <a:p>
            <a:pPr marL="673200" marR="5080" lvl="1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Font size for level 2 also 14 (may change to 12)  </a:t>
            </a:r>
            <a:endParaRPr lang="en-US" sz="1400" spc="-5" dirty="0">
              <a:solidFill>
                <a:srgbClr val="5C5C5C"/>
              </a:solidFill>
              <a:latin typeface="+mj-lt"/>
              <a:cs typeface="Arial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84168" y="1399673"/>
            <a:ext cx="2592000" cy="0"/>
          </a:xfrm>
          <a:prstGeom prst="line">
            <a:avLst/>
          </a:prstGeom>
          <a:noFill/>
          <a:ln w="38100" cap="flat" cmpd="sng" algn="ctr">
            <a:solidFill>
              <a:srgbClr val="E30613"/>
            </a:solidFill>
            <a:prstDash val="solid"/>
          </a:ln>
          <a:effectLst/>
        </p:spPr>
      </p:cxnSp>
      <p:sp>
        <p:nvSpPr>
          <p:cNvPr id="14" name="object 45"/>
          <p:cNvSpPr/>
          <p:nvPr userDrawn="1"/>
        </p:nvSpPr>
        <p:spPr>
          <a:xfrm>
            <a:off x="3249810" y="1080000"/>
            <a:ext cx="2592000" cy="3515412"/>
          </a:xfrm>
          <a:custGeom>
            <a:avLst/>
            <a:gdLst/>
            <a:ahLst/>
            <a:cxnLst/>
            <a:rect l="l" t="t" r="r" b="b"/>
            <a:pathLst>
              <a:path w="2585085" h="1941829">
                <a:moveTo>
                  <a:pt x="0" y="1941576"/>
                </a:moveTo>
                <a:lnTo>
                  <a:pt x="2584704" y="1941576"/>
                </a:lnTo>
                <a:lnTo>
                  <a:pt x="2584704" y="0"/>
                </a:lnTo>
                <a:lnTo>
                  <a:pt x="0" y="0"/>
                </a:lnTo>
                <a:lnTo>
                  <a:pt x="0" y="1941576"/>
                </a:lnTo>
                <a:close/>
              </a:path>
            </a:pathLst>
          </a:custGeom>
          <a:solidFill>
            <a:srgbClr val="F2F2F2">
              <a:alpha val="50196"/>
            </a:srgbClr>
          </a:solidFill>
        </p:spPr>
        <p:txBody>
          <a:bodyPr wrap="square" lIns="72000" tIns="36000" rIns="72000" bIns="36000" rtlCol="0"/>
          <a:lstStyle/>
          <a:p>
            <a:pPr marR="5080">
              <a:spcBef>
                <a:spcPts val="470"/>
              </a:spcBef>
              <a:buClr>
                <a:srgbClr val="E30613"/>
              </a:buClr>
              <a:tabLst>
                <a:tab pos="355600" algn="l"/>
              </a:tabLst>
            </a:pPr>
            <a:r>
              <a:rPr lang="en-US" sz="1400" b="1" spc="-5" dirty="0">
                <a:solidFill>
                  <a:srgbClr val="5C5C5C"/>
                </a:solidFill>
                <a:latin typeface="+mj-lt"/>
                <a:cs typeface="Arial"/>
              </a:rPr>
              <a:t>Sub-heading</a:t>
            </a:r>
          </a:p>
          <a:p>
            <a:pPr marR="508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tabLst>
                <a:tab pos="355600" algn="l"/>
              </a:tabLst>
            </a:pPr>
            <a:endParaRPr lang="en-US" sz="400" spc="-5" dirty="0">
              <a:solidFill>
                <a:srgbClr val="5C5C5C"/>
              </a:solidFill>
              <a:latin typeface="+mj-lt"/>
              <a:cs typeface="Arial"/>
            </a:endParaRP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dirty="0">
                <a:solidFill>
                  <a:srgbClr val="5C5C5C"/>
                </a:solidFill>
                <a:latin typeface="+mj-lt"/>
                <a:cs typeface="Arial"/>
              </a:rPr>
              <a:t>Copy this box in your</a:t>
            </a: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 slide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Change the bullet spacing by selecting the bullets, then right click and select paragraph from context menu. Change spacing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Font size for level 1 is 14</a:t>
            </a:r>
          </a:p>
          <a:p>
            <a:pPr marL="673200" marR="5080" lvl="1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Font size for level 2 also 14 (may change to 12)  </a:t>
            </a:r>
            <a:endParaRPr lang="en-US" sz="1400" spc="-5" dirty="0">
              <a:solidFill>
                <a:srgbClr val="5C5C5C"/>
              </a:solidFill>
              <a:latin typeface="+mj-lt"/>
              <a:cs typeface="Arial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249811" y="1399673"/>
            <a:ext cx="2592000" cy="0"/>
          </a:xfrm>
          <a:prstGeom prst="line">
            <a:avLst/>
          </a:prstGeom>
          <a:noFill/>
          <a:ln w="38100" cap="flat" cmpd="sng" algn="ctr">
            <a:solidFill>
              <a:srgbClr val="E30613"/>
            </a:solidFill>
            <a:prstDash val="solid"/>
          </a:ln>
          <a:effectLst/>
        </p:spPr>
      </p:cxnSp>
      <p:sp>
        <p:nvSpPr>
          <p:cNvPr id="16" name="object 45"/>
          <p:cNvSpPr/>
          <p:nvPr userDrawn="1"/>
        </p:nvSpPr>
        <p:spPr>
          <a:xfrm>
            <a:off x="415452" y="1080000"/>
            <a:ext cx="2592000" cy="3515412"/>
          </a:xfrm>
          <a:custGeom>
            <a:avLst/>
            <a:gdLst/>
            <a:ahLst/>
            <a:cxnLst/>
            <a:rect l="l" t="t" r="r" b="b"/>
            <a:pathLst>
              <a:path w="2585085" h="1941829">
                <a:moveTo>
                  <a:pt x="0" y="1941576"/>
                </a:moveTo>
                <a:lnTo>
                  <a:pt x="2584704" y="1941576"/>
                </a:lnTo>
                <a:lnTo>
                  <a:pt x="2584704" y="0"/>
                </a:lnTo>
                <a:lnTo>
                  <a:pt x="0" y="0"/>
                </a:lnTo>
                <a:lnTo>
                  <a:pt x="0" y="1941576"/>
                </a:lnTo>
                <a:close/>
              </a:path>
            </a:pathLst>
          </a:custGeom>
          <a:solidFill>
            <a:srgbClr val="F2F2F2">
              <a:alpha val="50196"/>
            </a:srgbClr>
          </a:solidFill>
        </p:spPr>
        <p:txBody>
          <a:bodyPr wrap="square" lIns="72000" tIns="36000" rIns="72000" bIns="36000" rtlCol="0"/>
          <a:lstStyle/>
          <a:p>
            <a:pPr marR="5080">
              <a:spcBef>
                <a:spcPts val="470"/>
              </a:spcBef>
              <a:buClr>
                <a:srgbClr val="E30613"/>
              </a:buClr>
              <a:tabLst>
                <a:tab pos="355600" algn="l"/>
              </a:tabLst>
            </a:pPr>
            <a:r>
              <a:rPr lang="en-US" sz="1400" b="1" spc="-5" dirty="0">
                <a:solidFill>
                  <a:srgbClr val="5C5C5C"/>
                </a:solidFill>
                <a:latin typeface="+mj-lt"/>
                <a:cs typeface="Arial"/>
              </a:rPr>
              <a:t>Sub-heading</a:t>
            </a:r>
          </a:p>
          <a:p>
            <a:pPr marR="508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tabLst>
                <a:tab pos="355600" algn="l"/>
              </a:tabLst>
            </a:pPr>
            <a:endParaRPr lang="en-US" sz="400" spc="-5" dirty="0">
              <a:solidFill>
                <a:srgbClr val="5C5C5C"/>
              </a:solidFill>
              <a:latin typeface="+mj-lt"/>
              <a:cs typeface="Arial"/>
            </a:endParaRP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dirty="0">
                <a:solidFill>
                  <a:srgbClr val="5C5C5C"/>
                </a:solidFill>
                <a:latin typeface="+mj-lt"/>
                <a:cs typeface="Arial"/>
              </a:rPr>
              <a:t>Copy this box in your</a:t>
            </a: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 slide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Change the bullet spacing by selecting the bullets, then right click and select paragraph from context menu. Change spacing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Font size for level 1 is 14</a:t>
            </a:r>
          </a:p>
          <a:p>
            <a:pPr marL="673200" marR="5080" lvl="1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Font size for level 2 also 14 (may change to 12)  </a:t>
            </a:r>
            <a:endParaRPr lang="en-US" sz="1400" spc="-5" dirty="0">
              <a:solidFill>
                <a:srgbClr val="5C5C5C"/>
              </a:solidFill>
              <a:latin typeface="+mj-lt"/>
              <a:cs typeface="Arial"/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15453" y="1399673"/>
            <a:ext cx="2592000" cy="0"/>
          </a:xfrm>
          <a:prstGeom prst="line">
            <a:avLst/>
          </a:prstGeom>
          <a:noFill/>
          <a:ln w="38100" cap="flat" cmpd="sng" algn="ctr">
            <a:solidFill>
              <a:srgbClr val="E30613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8093495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Figure Left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51956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1" name="object 45"/>
          <p:cNvSpPr/>
          <p:nvPr userDrawn="1"/>
        </p:nvSpPr>
        <p:spPr>
          <a:xfrm>
            <a:off x="6084168" y="1080000"/>
            <a:ext cx="2592000" cy="3515412"/>
          </a:xfrm>
          <a:custGeom>
            <a:avLst/>
            <a:gdLst/>
            <a:ahLst/>
            <a:cxnLst/>
            <a:rect l="l" t="t" r="r" b="b"/>
            <a:pathLst>
              <a:path w="2585085" h="1941829">
                <a:moveTo>
                  <a:pt x="0" y="1941576"/>
                </a:moveTo>
                <a:lnTo>
                  <a:pt x="2584704" y="1941576"/>
                </a:lnTo>
                <a:lnTo>
                  <a:pt x="2584704" y="0"/>
                </a:lnTo>
                <a:lnTo>
                  <a:pt x="0" y="0"/>
                </a:lnTo>
                <a:lnTo>
                  <a:pt x="0" y="1941576"/>
                </a:lnTo>
                <a:close/>
              </a:path>
            </a:pathLst>
          </a:custGeom>
          <a:solidFill>
            <a:srgbClr val="F2F2F2">
              <a:alpha val="50196"/>
            </a:srgbClr>
          </a:solidFill>
        </p:spPr>
        <p:txBody>
          <a:bodyPr wrap="square" lIns="72000" tIns="36000" rIns="72000" bIns="36000" rtlCol="0"/>
          <a:lstStyle/>
          <a:p>
            <a:pPr marR="5080">
              <a:spcBef>
                <a:spcPts val="470"/>
              </a:spcBef>
              <a:buClr>
                <a:srgbClr val="E30613"/>
              </a:buClr>
              <a:tabLst>
                <a:tab pos="355600" algn="l"/>
              </a:tabLst>
            </a:pPr>
            <a:r>
              <a:rPr lang="en-US" sz="1400" b="1" spc="-5" dirty="0">
                <a:solidFill>
                  <a:srgbClr val="5C5C5C"/>
                </a:solidFill>
                <a:latin typeface="+mj-lt"/>
                <a:cs typeface="Arial"/>
              </a:rPr>
              <a:t>Sub-heading</a:t>
            </a:r>
          </a:p>
          <a:p>
            <a:pPr marR="508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tabLst>
                <a:tab pos="355600" algn="l"/>
              </a:tabLst>
            </a:pPr>
            <a:endParaRPr lang="en-US" sz="400" spc="-5" dirty="0">
              <a:solidFill>
                <a:srgbClr val="5C5C5C"/>
              </a:solidFill>
              <a:latin typeface="+mj-lt"/>
              <a:cs typeface="Arial"/>
            </a:endParaRP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dirty="0">
                <a:solidFill>
                  <a:srgbClr val="5C5C5C"/>
                </a:solidFill>
                <a:latin typeface="+mj-lt"/>
                <a:cs typeface="Arial"/>
              </a:rPr>
              <a:t>Copy this box in your</a:t>
            </a: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 slide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Change the bullet spacing by selecting the bullets, then right click and select paragraph from context menu. Change spacing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Font size for level 1 is 14</a:t>
            </a:r>
          </a:p>
          <a:p>
            <a:pPr marL="673200" marR="5080" lvl="1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Font size for level 2 also 14 (may change to 12)  </a:t>
            </a:r>
            <a:endParaRPr lang="en-US" sz="1400" spc="-5" dirty="0">
              <a:solidFill>
                <a:srgbClr val="5C5C5C"/>
              </a:solidFill>
              <a:latin typeface="+mj-lt"/>
              <a:cs typeface="Arial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84168" y="1399673"/>
            <a:ext cx="2592000" cy="0"/>
          </a:xfrm>
          <a:prstGeom prst="line">
            <a:avLst/>
          </a:prstGeom>
          <a:noFill/>
          <a:ln w="38100" cap="flat" cmpd="sng" algn="ctr">
            <a:solidFill>
              <a:srgbClr val="E30613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3989069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Right figur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51956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6" name="object 45"/>
          <p:cNvSpPr/>
          <p:nvPr userDrawn="1"/>
        </p:nvSpPr>
        <p:spPr>
          <a:xfrm>
            <a:off x="415452" y="1080000"/>
            <a:ext cx="2592000" cy="3515412"/>
          </a:xfrm>
          <a:custGeom>
            <a:avLst/>
            <a:gdLst/>
            <a:ahLst/>
            <a:cxnLst/>
            <a:rect l="l" t="t" r="r" b="b"/>
            <a:pathLst>
              <a:path w="2585085" h="1941829">
                <a:moveTo>
                  <a:pt x="0" y="1941576"/>
                </a:moveTo>
                <a:lnTo>
                  <a:pt x="2584704" y="1941576"/>
                </a:lnTo>
                <a:lnTo>
                  <a:pt x="2584704" y="0"/>
                </a:lnTo>
                <a:lnTo>
                  <a:pt x="0" y="0"/>
                </a:lnTo>
                <a:lnTo>
                  <a:pt x="0" y="1941576"/>
                </a:lnTo>
                <a:close/>
              </a:path>
            </a:pathLst>
          </a:custGeom>
          <a:solidFill>
            <a:srgbClr val="F2F2F2">
              <a:alpha val="50196"/>
            </a:srgbClr>
          </a:solidFill>
        </p:spPr>
        <p:txBody>
          <a:bodyPr wrap="square" lIns="72000" tIns="36000" rIns="72000" bIns="36000" rtlCol="0"/>
          <a:lstStyle/>
          <a:p>
            <a:pPr marR="5080">
              <a:spcBef>
                <a:spcPts val="470"/>
              </a:spcBef>
              <a:buClr>
                <a:srgbClr val="E30613"/>
              </a:buClr>
              <a:tabLst>
                <a:tab pos="355600" algn="l"/>
              </a:tabLst>
            </a:pPr>
            <a:r>
              <a:rPr lang="en-US" sz="1400" b="1" spc="-5" dirty="0">
                <a:solidFill>
                  <a:srgbClr val="5C5C5C"/>
                </a:solidFill>
                <a:latin typeface="+mj-lt"/>
                <a:cs typeface="Arial"/>
              </a:rPr>
              <a:t>Sub-heading</a:t>
            </a:r>
          </a:p>
          <a:p>
            <a:pPr marR="508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tabLst>
                <a:tab pos="355600" algn="l"/>
              </a:tabLst>
            </a:pPr>
            <a:endParaRPr lang="en-US" sz="400" spc="-5" dirty="0">
              <a:solidFill>
                <a:srgbClr val="5C5C5C"/>
              </a:solidFill>
              <a:latin typeface="+mj-lt"/>
              <a:cs typeface="Arial"/>
            </a:endParaRP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dirty="0">
                <a:solidFill>
                  <a:srgbClr val="5C5C5C"/>
                </a:solidFill>
                <a:latin typeface="+mj-lt"/>
                <a:cs typeface="Arial"/>
              </a:rPr>
              <a:t>Copy this box in your</a:t>
            </a: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 slide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Change the bullet spacing by selecting the bullets, then right click and select paragraph from context menu. Change spacing</a:t>
            </a:r>
          </a:p>
          <a:p>
            <a:pPr marL="216000" marR="5080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Font size for level 1 is 14</a:t>
            </a:r>
          </a:p>
          <a:p>
            <a:pPr marL="673200" marR="5080" lvl="1" indent="-216000">
              <a:spcBef>
                <a:spcPts val="300"/>
              </a:spcBef>
              <a:spcAft>
                <a:spcPts val="600"/>
              </a:spcAft>
              <a:buClr>
                <a:srgbClr val="E30613"/>
              </a:buClr>
              <a:buFont typeface="Wingdings" panose="05000000000000000000" pitchFamily="2" charset="2"/>
              <a:buChar char="§"/>
              <a:tabLst>
                <a:tab pos="355600" algn="l"/>
              </a:tabLst>
            </a:pPr>
            <a:r>
              <a:rPr lang="en-US" sz="1400" spc="-5" baseline="0" dirty="0">
                <a:solidFill>
                  <a:srgbClr val="5C5C5C"/>
                </a:solidFill>
                <a:latin typeface="+mj-lt"/>
                <a:cs typeface="Arial"/>
              </a:rPr>
              <a:t>Font size for level 2 also 14 (may change to 12)  </a:t>
            </a:r>
            <a:endParaRPr lang="en-US" sz="1400" spc="-5" dirty="0">
              <a:solidFill>
                <a:srgbClr val="5C5C5C"/>
              </a:solidFill>
              <a:latin typeface="+mj-lt"/>
              <a:cs typeface="Arial"/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15453" y="1399673"/>
            <a:ext cx="2592000" cy="0"/>
          </a:xfrm>
          <a:prstGeom prst="line">
            <a:avLst/>
          </a:prstGeom>
          <a:noFill/>
          <a:ln w="38100" cap="flat" cmpd="sng" algn="ctr">
            <a:solidFill>
              <a:srgbClr val="E30613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2520490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tor-Agenda">
    <p:bg>
      <p:bgPr>
        <a:gradFill>
          <a:gsLst>
            <a:gs pos="0">
              <a:srgbClr val="E30613">
                <a:lumMod val="70000"/>
              </a:srgbClr>
            </a:gs>
            <a:gs pos="74000">
              <a:srgbClr val="DE002B"/>
            </a:gs>
            <a:gs pos="100000">
              <a:srgbClr val="E30613">
                <a:lumMod val="50000"/>
              </a:srgb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2392680" y="2210400"/>
            <a:ext cx="6243320" cy="636587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chemeClr val="bg1">
                    <a:lumMod val="8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394000" y="2847600"/>
            <a:ext cx="623316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0774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7114" y="1347615"/>
            <a:ext cx="7399312" cy="3185146"/>
          </a:xfrm>
          <a:prstGeom prst="rect">
            <a:avLst/>
          </a:prstGeom>
        </p:spPr>
        <p:txBody>
          <a:bodyPr/>
          <a:lstStyle>
            <a:lvl1pPr marL="342892" indent="-3428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742931" indent="-285743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142972" indent="-22859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1600160" indent="-22859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057348" indent="-22859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9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187494" y="436197"/>
            <a:ext cx="0" cy="43775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6062" y="291570"/>
            <a:ext cx="6079287" cy="696004"/>
          </a:xfrm>
          <a:prstGeom prst="rect">
            <a:avLst/>
          </a:prstGeom>
        </p:spPr>
        <p:txBody>
          <a:bodyPr anchor="ctr" anchorCtr="0"/>
          <a:lstStyle>
            <a:lvl1pPr>
              <a:defRPr sz="1600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55377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7114" y="1347615"/>
            <a:ext cx="7399312" cy="3185146"/>
          </a:xfrm>
          <a:prstGeom prst="rect">
            <a:avLst/>
          </a:prstGeom>
        </p:spPr>
        <p:txBody>
          <a:bodyPr/>
          <a:lstStyle>
            <a:lvl1pPr marL="342892" indent="-3428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742931" indent="-285743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142972" indent="-22859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1600160" indent="-22859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057348" indent="-22859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9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2436063" y="323318"/>
            <a:ext cx="6064992" cy="6960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sz="1500" b="1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187494" y="436197"/>
            <a:ext cx="0" cy="43775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2519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7114" y="1347615"/>
            <a:ext cx="7399312" cy="3185146"/>
          </a:xfrm>
          <a:prstGeom prst="rect">
            <a:avLst/>
          </a:prstGeom>
        </p:spPr>
        <p:txBody>
          <a:bodyPr/>
          <a:lstStyle>
            <a:lvl1pPr marL="342892" indent="-3428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742931" indent="-285743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142972" indent="-22859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1600160" indent="-22859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057348" indent="-22859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9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75416" y="361920"/>
            <a:ext cx="7824086" cy="522004"/>
          </a:xfrm>
          <a:prstGeom prst="rect">
            <a:avLst/>
          </a:prstGeom>
        </p:spPr>
        <p:txBody>
          <a:bodyPr vert="horz"/>
          <a:lstStyle>
            <a:lvl1pPr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531364"/>
      </p:ext>
    </p:extLst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7449CD-1654-CF49-AD5C-E84A31F0D0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8B4F089-CFD4-7D49-94FA-0C19A78BB4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78A842-789D-FD47-8D42-F02405FB9D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fld id="{B3788BD5-A9C5-A944-AAB7-66F4B8A38A2D}" type="datetimeFigureOut">
              <a:rPr lang="en-US" smtClean="0"/>
              <a:t>7/24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92DF2C-7F94-764C-8140-98A8DCDED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83D113-9361-324A-871B-59631CDFBC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fld id="{5249F7E0-25E2-104F-9EE8-129998D9EC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35930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14586" y="1347614"/>
            <a:ext cx="4040188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4586" y="1703165"/>
            <a:ext cx="4040188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347614"/>
            <a:ext cx="4041775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03165"/>
            <a:ext cx="4041775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348778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205136" y="1347614"/>
            <a:ext cx="7399312" cy="31683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2632320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88000" y="396000"/>
            <a:ext cx="7211144" cy="60167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439944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53250"/>
            <a:ext cx="9144000" cy="389024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6228000" cy="504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  <a:latin typeface="Gotham Narrow Bold" pitchFamily="50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256390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DC93F3BA-2424-4C34-8B7C-205B3BB30EE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620000" y="270000"/>
            <a:ext cx="6480000" cy="432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100">
                <a:solidFill>
                  <a:srgbClr val="575756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618315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_Title_1Col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000" y="999000"/>
            <a:ext cx="8235000" cy="3645000"/>
          </a:xfrm>
          <a:prstGeom prst="rect">
            <a:avLst/>
          </a:prstGeom>
        </p:spPr>
        <p:txBody>
          <a:bodyPr/>
          <a:lstStyle>
            <a:lvl1pPr marL="257175" indent="-257175">
              <a:buClr>
                <a:srgbClr val="E21E25"/>
              </a:buClr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1pPr>
            <a:lvl2pPr marL="557213" indent="-214313">
              <a:buClr>
                <a:srgbClr val="E21E25"/>
              </a:buClr>
              <a:buSzPct val="90000"/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+mn-lt"/>
              </a:defRPr>
            </a:lvl2pPr>
            <a:lvl3pPr marL="857250" indent="-171450">
              <a:buClr>
                <a:srgbClr val="E21E25"/>
              </a:buClr>
              <a:buSzPct val="90000"/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200150" indent="-171450">
              <a:buClr>
                <a:srgbClr val="E21E25"/>
              </a:buClr>
              <a:buSzPct val="90000"/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543050" indent="-171450">
              <a:buClr>
                <a:srgbClr val="E21E25"/>
              </a:buClr>
              <a:buSzPct val="90000"/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DC93F3BA-2424-4C34-8B7C-205B3BB30EE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620000" y="270000"/>
            <a:ext cx="6480000" cy="42128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100">
                <a:solidFill>
                  <a:srgbClr val="575756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04E6076-F07F-FB4B-B166-8F2F791D8EA8}"/>
              </a:ext>
            </a:extLst>
          </p:cNvPr>
          <p:cNvSpPr txBox="1"/>
          <p:nvPr userDrawn="1"/>
        </p:nvSpPr>
        <p:spPr>
          <a:xfrm>
            <a:off x="3300248" y="4761186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089519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rcRect b="15713"/>
          <a:stretch>
            <a:fillRect/>
          </a:stretch>
        </p:blipFill>
        <p:spPr>
          <a:xfrm>
            <a:off x="0" y="0"/>
            <a:ext cx="9153518" cy="51435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0" y="3416854"/>
            <a:ext cx="8940800" cy="672704"/>
          </a:xfrm>
          <a:prstGeom prst="rect">
            <a:avLst/>
          </a:prstGeom>
        </p:spPr>
        <p:txBody>
          <a:bodyPr/>
          <a:lstStyle>
            <a:lvl1pPr marL="361950" indent="0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-1" y="4118133"/>
            <a:ext cx="8999621" cy="614363"/>
          </a:xfrm>
          <a:prstGeom prst="rect">
            <a:avLst/>
          </a:prstGeom>
        </p:spPr>
        <p:txBody>
          <a:bodyPr/>
          <a:lstStyle>
            <a:lvl1pPr marL="36195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461076"/>
            <a:ext cx="4705684" cy="292894"/>
          </a:xfrm>
          <a:prstGeom prst="rect">
            <a:avLst/>
          </a:prstGeom>
        </p:spPr>
        <p:txBody>
          <a:bodyPr/>
          <a:lstStyle>
            <a:lvl1pPr marL="361950" indent="0">
              <a:buNone/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8622" y="315024"/>
            <a:ext cx="1208999" cy="54516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3378" y="451425"/>
            <a:ext cx="527711" cy="52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4184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99000"/>
                  <a:lumOff val="1000"/>
                  <a:alpha val="28000"/>
                </a:schemeClr>
              </a:gs>
              <a:gs pos="1000">
                <a:schemeClr val="tx1">
                  <a:lumMod val="95000"/>
                  <a:lumOff val="5000"/>
                  <a:alpha val="26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0" y="2020490"/>
            <a:ext cx="5791200" cy="672704"/>
          </a:xfrm>
          <a:prstGeom prst="rect">
            <a:avLst/>
          </a:prstGeom>
        </p:spPr>
        <p:txBody>
          <a:bodyPr/>
          <a:lstStyle>
            <a:lvl1pPr marL="361950" indent="0">
              <a:defRPr sz="2400" b="0">
                <a:solidFill>
                  <a:srgbClr val="55517B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721769"/>
            <a:ext cx="5829300" cy="614363"/>
          </a:xfrm>
          <a:prstGeom prst="rect">
            <a:avLst/>
          </a:prstGeom>
        </p:spPr>
        <p:txBody>
          <a:bodyPr/>
          <a:lstStyle>
            <a:lvl1pPr marL="36195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357563"/>
            <a:ext cx="3048000" cy="292894"/>
          </a:xfrm>
          <a:prstGeom prst="rect">
            <a:avLst/>
          </a:prstGeom>
        </p:spPr>
        <p:txBody>
          <a:bodyPr/>
          <a:lstStyle>
            <a:lvl1pPr marL="36195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9203" y="240269"/>
            <a:ext cx="1213033" cy="546988"/>
          </a:xfrm>
          <a:prstGeom prst="rect">
            <a:avLst/>
          </a:prstGeom>
        </p:spPr>
      </p:pic>
      <p:grpSp>
        <p:nvGrpSpPr>
          <p:cNvPr id="14" name="Group 13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15" name="Rectangle 14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>
                <a:solidFill>
                  <a:schemeClr val="accent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3378" y="451425"/>
            <a:ext cx="527711" cy="52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3699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0" y="2020490"/>
            <a:ext cx="5791200" cy="672704"/>
          </a:xfrm>
          <a:prstGeom prst="rect">
            <a:avLst/>
          </a:prstGeom>
        </p:spPr>
        <p:txBody>
          <a:bodyPr/>
          <a:lstStyle>
            <a:lvl1pPr marL="361950" indent="0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721769"/>
            <a:ext cx="5829300" cy="614363"/>
          </a:xfrm>
          <a:prstGeom prst="rect">
            <a:avLst/>
          </a:prstGeom>
        </p:spPr>
        <p:txBody>
          <a:bodyPr/>
          <a:lstStyle>
            <a:lvl1pPr marL="36195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357563"/>
            <a:ext cx="3048000" cy="292894"/>
          </a:xfrm>
          <a:prstGeom prst="rect">
            <a:avLst/>
          </a:prstGeom>
        </p:spPr>
        <p:txBody>
          <a:bodyPr/>
          <a:lstStyle>
            <a:lvl1pPr marL="36195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grpSp>
        <p:nvGrpSpPr>
          <p:cNvPr id="2" name="Group 13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15" name="Rectangle 14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>
                <a:solidFill>
                  <a:schemeClr val="accent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8622" y="237264"/>
            <a:ext cx="1208999" cy="54516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3378" y="451425"/>
            <a:ext cx="527711" cy="52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7933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6"/>
          <p:cNvSpPr>
            <a:spLocks noGrp="1"/>
          </p:cNvSpPr>
          <p:nvPr>
            <p:ph sz="quarter" idx="10"/>
          </p:nvPr>
        </p:nvSpPr>
        <p:spPr>
          <a:xfrm>
            <a:off x="1480299" y="937023"/>
            <a:ext cx="7206501" cy="3689406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lIns="0"/>
          <a:lstStyle>
            <a:lvl1pPr marL="450850" indent="-368300">
              <a:spcBef>
                <a:spcPts val="600"/>
              </a:spcBef>
              <a:spcAft>
                <a:spcPts val="600"/>
              </a:spcAft>
              <a:defRPr sz="1400"/>
            </a:lvl1pPr>
            <a:lvl2pPr marL="808038" indent="-273050">
              <a:spcBef>
                <a:spcPts val="600"/>
              </a:spcBef>
              <a:spcAft>
                <a:spcPts val="600"/>
              </a:spcAft>
              <a:defRPr sz="1200"/>
            </a:lvl2pPr>
            <a:lvl3pPr marL="1163638" indent="-260350">
              <a:spcBef>
                <a:spcPts val="600"/>
              </a:spcBef>
              <a:spcAft>
                <a:spcPts val="600"/>
              </a:spcAft>
              <a:defRPr sz="1100"/>
            </a:lvl3pPr>
            <a:lvl4pPr>
              <a:spcBef>
                <a:spcPts val="600"/>
              </a:spcBef>
              <a:spcAft>
                <a:spcPts val="600"/>
              </a:spcAft>
              <a:defRPr sz="1050"/>
            </a:lvl4pPr>
            <a:lvl5pPr>
              <a:spcBef>
                <a:spcPts val="600"/>
              </a:spcBef>
              <a:spcAft>
                <a:spcPts val="600"/>
              </a:spcAft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4" y="4891901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4" y="4891580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5054596" y="4915385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8625" y="355847"/>
            <a:ext cx="814799" cy="367413"/>
          </a:xfrm>
          <a:prstGeom prst="rect">
            <a:avLst/>
          </a:prstGeom>
        </p:spPr>
      </p:pic>
      <p:grpSp>
        <p:nvGrpSpPr>
          <p:cNvPr id="22" name="Group 21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23" name="Rectangle 2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>
                <a:solidFill>
                  <a:schemeClr val="accent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cxnSp>
        <p:nvCxnSpPr>
          <p:cNvPr id="15" name="Straight Connector 14"/>
          <p:cNvCxnSpPr/>
          <p:nvPr userDrawn="1"/>
        </p:nvCxnSpPr>
        <p:spPr>
          <a:xfrm rot="5400000">
            <a:off x="1135865" y="486756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1464731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50" indent="-268288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49612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1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23" name="Rectangle 2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>
                <a:solidFill>
                  <a:schemeClr val="accent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440266" y="1424111"/>
            <a:ext cx="4014507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/>
          </p:nvPr>
        </p:nvSpPr>
        <p:spPr>
          <a:xfrm>
            <a:off x="440266" y="1779662"/>
            <a:ext cx="4014507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JM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45026" y="1424111"/>
            <a:ext cx="4041775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551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11"/>
          </p:nvPr>
        </p:nvSpPr>
        <p:spPr>
          <a:xfrm>
            <a:off x="4645026" y="1779662"/>
            <a:ext cx="4041775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JM" dirty="0"/>
          </a:p>
        </p:txBody>
      </p:sp>
      <p:sp>
        <p:nvSpPr>
          <p:cNvPr id="3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4" y="4891580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6" name="Straight Connector 15"/>
          <p:cNvCxnSpPr/>
          <p:nvPr userDrawn="1"/>
        </p:nvCxnSpPr>
        <p:spPr>
          <a:xfrm rot="5400000">
            <a:off x="1135865" y="486756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1464731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50" indent="-268288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8625" y="355847"/>
            <a:ext cx="814799" cy="367413"/>
          </a:xfrm>
          <a:prstGeom prst="rect">
            <a:avLst/>
          </a:prstGeom>
        </p:spPr>
      </p:pic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4" y="4891901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28" name="Footer Placeholder 4"/>
          <p:cNvSpPr txBox="1">
            <a:spLocks/>
          </p:cNvSpPr>
          <p:nvPr userDrawn="1"/>
        </p:nvSpPr>
        <p:spPr>
          <a:xfrm>
            <a:off x="5054596" y="4915385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20373868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433136" y="1716505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3312694" y="1708484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6216315" y="1716505"/>
            <a:ext cx="2482680" cy="290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3336" y="141962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322894" y="141962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226515" y="141962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 baseline="0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3211893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1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23" name="Rectangle 2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>
                <a:solidFill>
                  <a:schemeClr val="accent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3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4" y="4891580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 userDrawn="1"/>
        </p:nvGraphicFramePr>
        <p:xfrm>
          <a:off x="1502096" y="963083"/>
          <a:ext cx="7176198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920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920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920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400" b="1" i="0" dirty="0">
                          <a:latin typeface="+mj-lt"/>
                        </a:rPr>
                        <a:t>Heading goes he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j-lt"/>
                        </a:rPr>
                        <a:t>Body goes</a:t>
                      </a:r>
                      <a:r>
                        <a:rPr lang="en-GB" sz="1400" baseline="0" dirty="0">
                          <a:latin typeface="+mj-lt"/>
                        </a:rPr>
                        <a:t> here</a:t>
                      </a:r>
                      <a:endParaRPr lang="en-GB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 rot="5400000">
            <a:off x="1135865" y="486756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1464731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50" indent="-268288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8625" y="355847"/>
            <a:ext cx="814799" cy="367413"/>
          </a:xfrm>
          <a:prstGeom prst="rect">
            <a:avLst/>
          </a:prstGeom>
        </p:spPr>
      </p:pic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4" y="4891901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5054596" y="4915385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29160508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1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23" name="Rectangle 2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>
                <a:solidFill>
                  <a:schemeClr val="accent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22" name="Content Placeholder 13"/>
          <p:cNvSpPr>
            <a:spLocks noGrp="1"/>
          </p:cNvSpPr>
          <p:nvPr>
            <p:ph sz="quarter" idx="13"/>
          </p:nvPr>
        </p:nvSpPr>
        <p:spPr>
          <a:xfrm>
            <a:off x="433136" y="1747865"/>
            <a:ext cx="2482680" cy="2900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Content Placeholder 13"/>
          <p:cNvSpPr>
            <a:spLocks noGrp="1"/>
          </p:cNvSpPr>
          <p:nvPr>
            <p:ph sz="quarter" idx="14"/>
          </p:nvPr>
        </p:nvSpPr>
        <p:spPr>
          <a:xfrm>
            <a:off x="3312694" y="1739844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Content Placeholder 13"/>
          <p:cNvSpPr>
            <a:spLocks noGrp="1"/>
          </p:cNvSpPr>
          <p:nvPr>
            <p:ph sz="quarter" idx="15"/>
          </p:nvPr>
        </p:nvSpPr>
        <p:spPr>
          <a:xfrm>
            <a:off x="6216315" y="1747865"/>
            <a:ext cx="2482680" cy="290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43336" y="145098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551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322894" y="145098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551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226515" y="145098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 baseline="0">
                <a:solidFill>
                  <a:srgbClr val="5551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4" y="4891580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 rot="5400000">
            <a:off x="1135865" y="486756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1464731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50" indent="-268288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8625" y="355847"/>
            <a:ext cx="814799" cy="367413"/>
          </a:xfrm>
          <a:prstGeom prst="rect">
            <a:avLst/>
          </a:prstGeom>
        </p:spPr>
      </p:pic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4" y="4891901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33" name="Footer Placeholder 4"/>
          <p:cNvSpPr txBox="1">
            <a:spLocks/>
          </p:cNvSpPr>
          <p:nvPr userDrawn="1"/>
        </p:nvSpPr>
        <p:spPr>
          <a:xfrm>
            <a:off x="5054596" y="4915385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11148086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5"/>
          <p:cNvSpPr>
            <a:spLocks noGrp="1"/>
          </p:cNvSpPr>
          <p:nvPr>
            <p:ph sz="quarter" idx="11"/>
          </p:nvPr>
        </p:nvSpPr>
        <p:spPr>
          <a:xfrm>
            <a:off x="5308270" y="945598"/>
            <a:ext cx="3386997" cy="3699272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88" indent="-265113">
              <a:spcBef>
                <a:spcPts val="600"/>
              </a:spcBef>
              <a:spcAft>
                <a:spcPts val="600"/>
              </a:spcAft>
              <a:tabLst>
                <a:tab pos="542925" algn="l"/>
              </a:tabLst>
              <a:defRPr sz="1400"/>
            </a:lvl1pPr>
            <a:lvl2pPr marL="808038" indent="-265113">
              <a:spcBef>
                <a:spcPts val="600"/>
              </a:spcBef>
              <a:spcAft>
                <a:spcPts val="600"/>
              </a:spcAft>
              <a:defRPr sz="1200"/>
            </a:lvl2pPr>
            <a:lvl3pPr marL="1169988" indent="-276225">
              <a:spcBef>
                <a:spcPts val="600"/>
              </a:spcBef>
              <a:spcAft>
                <a:spcPts val="600"/>
              </a:spcAft>
              <a:defRPr sz="1100"/>
            </a:lvl3pPr>
            <a:lvl4pPr marL="1520825" indent="-266700">
              <a:spcBef>
                <a:spcPts val="600"/>
              </a:spcBef>
              <a:spcAft>
                <a:spcPts val="600"/>
              </a:spcAft>
              <a:defRPr sz="1050"/>
            </a:lvl4pPr>
            <a:lvl5pPr marL="1881188" indent="-265113">
              <a:spcBef>
                <a:spcPts val="600"/>
              </a:spcBef>
              <a:spcAft>
                <a:spcPts val="600"/>
              </a:spcAft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Content Placeholder 5"/>
          <p:cNvSpPr>
            <a:spLocks noGrp="1"/>
          </p:cNvSpPr>
          <p:nvPr>
            <p:ph sz="quarter" idx="12"/>
          </p:nvPr>
        </p:nvSpPr>
        <p:spPr>
          <a:xfrm>
            <a:off x="440266" y="948634"/>
            <a:ext cx="4701749" cy="3699272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355600" indent="-273050">
              <a:spcBef>
                <a:spcPts val="600"/>
              </a:spcBef>
              <a:spcAft>
                <a:spcPts val="600"/>
              </a:spcAft>
              <a:tabLst>
                <a:tab pos="542925" algn="l"/>
              </a:tabLst>
              <a:defRPr sz="1400"/>
            </a:lvl1pPr>
            <a:lvl2pPr marL="712788" indent="-261938">
              <a:spcBef>
                <a:spcPts val="600"/>
              </a:spcBef>
              <a:spcAft>
                <a:spcPts val="600"/>
              </a:spcAft>
              <a:defRPr sz="1200"/>
            </a:lvl2pPr>
            <a:lvl3pPr marL="1081088" indent="-273050">
              <a:spcBef>
                <a:spcPts val="600"/>
              </a:spcBef>
              <a:spcAft>
                <a:spcPts val="600"/>
              </a:spcAft>
              <a:defRPr sz="1100"/>
            </a:lvl3pPr>
            <a:lvl4pPr marL="1436688" indent="-273050">
              <a:spcBef>
                <a:spcPts val="600"/>
              </a:spcBef>
              <a:spcAft>
                <a:spcPts val="600"/>
              </a:spcAft>
              <a:defRPr sz="1050"/>
            </a:lvl4pPr>
            <a:lvl5pPr marL="1793875" indent="-273050">
              <a:spcBef>
                <a:spcPts val="600"/>
              </a:spcBef>
              <a:spcAft>
                <a:spcPts val="600"/>
              </a:spcAft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21" name="Group 21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22" name="Rectangle 21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>
                <a:solidFill>
                  <a:schemeClr val="accent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2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4" y="4891580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 rot="5400000">
            <a:off x="1135865" y="486756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464731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50" indent="-268288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8625" y="355847"/>
            <a:ext cx="814799" cy="367413"/>
          </a:xfrm>
          <a:prstGeom prst="rect">
            <a:avLst/>
          </a:prstGeom>
        </p:spPr>
      </p:pic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4" y="4891901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5054596" y="4915385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10260064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5"/>
          <p:cNvSpPr>
            <a:spLocks noGrp="1"/>
          </p:cNvSpPr>
          <p:nvPr>
            <p:ph sz="quarter" idx="11"/>
          </p:nvPr>
        </p:nvSpPr>
        <p:spPr>
          <a:xfrm>
            <a:off x="4778772" y="1013334"/>
            <a:ext cx="3916495" cy="361489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88" indent="-265113">
              <a:spcBef>
                <a:spcPts val="600"/>
              </a:spcBef>
              <a:spcAft>
                <a:spcPts val="600"/>
              </a:spcAft>
              <a:tabLst>
                <a:tab pos="542925" algn="l"/>
              </a:tabLst>
              <a:defRPr sz="1400"/>
            </a:lvl1pPr>
            <a:lvl2pPr marL="808038" indent="-265113">
              <a:spcBef>
                <a:spcPts val="600"/>
              </a:spcBef>
              <a:spcAft>
                <a:spcPts val="600"/>
              </a:spcAft>
              <a:defRPr sz="1200"/>
            </a:lvl2pPr>
            <a:lvl3pPr marL="1169988" indent="-276225">
              <a:spcBef>
                <a:spcPts val="600"/>
              </a:spcBef>
              <a:spcAft>
                <a:spcPts val="600"/>
              </a:spcAft>
              <a:defRPr sz="1100"/>
            </a:lvl3pPr>
            <a:lvl4pPr marL="1520825" indent="-266700">
              <a:spcBef>
                <a:spcPts val="600"/>
              </a:spcBef>
              <a:spcAft>
                <a:spcPts val="600"/>
              </a:spcAft>
              <a:defRPr sz="1050"/>
            </a:lvl4pPr>
            <a:lvl5pPr marL="1881188" indent="-265113">
              <a:spcBef>
                <a:spcPts val="600"/>
              </a:spcBef>
              <a:spcAft>
                <a:spcPts val="600"/>
              </a:spcAft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5"/>
          <p:cNvSpPr>
            <a:spLocks noGrp="1"/>
          </p:cNvSpPr>
          <p:nvPr>
            <p:ph sz="quarter" idx="12"/>
          </p:nvPr>
        </p:nvSpPr>
        <p:spPr>
          <a:xfrm>
            <a:off x="457197" y="1016370"/>
            <a:ext cx="3977467" cy="361489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355600" indent="-273050">
              <a:spcBef>
                <a:spcPts val="600"/>
              </a:spcBef>
              <a:spcAft>
                <a:spcPts val="600"/>
              </a:spcAft>
              <a:tabLst>
                <a:tab pos="542925" algn="l"/>
              </a:tabLst>
              <a:defRPr sz="1400"/>
            </a:lvl1pPr>
            <a:lvl2pPr marL="712788" indent="-261938">
              <a:spcBef>
                <a:spcPts val="600"/>
              </a:spcBef>
              <a:spcAft>
                <a:spcPts val="600"/>
              </a:spcAft>
              <a:defRPr sz="1200"/>
            </a:lvl2pPr>
            <a:lvl3pPr marL="1081088" indent="-273050">
              <a:spcBef>
                <a:spcPts val="600"/>
              </a:spcBef>
              <a:spcAft>
                <a:spcPts val="600"/>
              </a:spcAft>
              <a:defRPr sz="1100"/>
            </a:lvl3pPr>
            <a:lvl4pPr marL="1436688" indent="-273050">
              <a:spcBef>
                <a:spcPts val="600"/>
              </a:spcBef>
              <a:spcAft>
                <a:spcPts val="600"/>
              </a:spcAft>
              <a:defRPr sz="1050"/>
            </a:lvl4pPr>
            <a:lvl5pPr marL="1793875" indent="-273050">
              <a:spcBef>
                <a:spcPts val="600"/>
              </a:spcBef>
              <a:spcAft>
                <a:spcPts val="600"/>
              </a:spcAft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2461" y="136240"/>
            <a:ext cx="1209001" cy="545170"/>
          </a:xfrm>
          <a:prstGeom prst="rect">
            <a:avLst/>
          </a:prstGeom>
        </p:spPr>
      </p:pic>
      <p:grpSp>
        <p:nvGrpSpPr>
          <p:cNvPr id="21" name="Group 21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22" name="Rectangle 21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>
                <a:solidFill>
                  <a:schemeClr val="accent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2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4" y="4891580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4" name="Straight Connector 13"/>
          <p:cNvCxnSpPr/>
          <p:nvPr userDrawn="1"/>
        </p:nvCxnSpPr>
        <p:spPr>
          <a:xfrm rot="5400000">
            <a:off x="1135865" y="486756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464731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50" indent="-268288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8625" y="355847"/>
            <a:ext cx="814799" cy="367413"/>
          </a:xfrm>
          <a:prstGeom prst="rect">
            <a:avLst/>
          </a:prstGeom>
        </p:spPr>
      </p:pic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4" y="4891901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25" name="Footer Placeholder 4"/>
          <p:cNvSpPr txBox="1">
            <a:spLocks/>
          </p:cNvSpPr>
          <p:nvPr userDrawn="1"/>
        </p:nvSpPr>
        <p:spPr>
          <a:xfrm>
            <a:off x="5054596" y="4915385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30490061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5"/>
          <p:cNvSpPr>
            <a:spLocks noGrp="1"/>
          </p:cNvSpPr>
          <p:nvPr>
            <p:ph sz="quarter" idx="11"/>
          </p:nvPr>
        </p:nvSpPr>
        <p:spPr>
          <a:xfrm>
            <a:off x="5155563" y="1021309"/>
            <a:ext cx="3522770" cy="1721891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88" indent="-265113">
              <a:spcBef>
                <a:spcPts val="600"/>
              </a:spcBef>
              <a:spcAft>
                <a:spcPts val="600"/>
              </a:spcAft>
              <a:tabLst>
                <a:tab pos="542925" algn="l"/>
              </a:tabLst>
              <a:defRPr sz="1200"/>
            </a:lvl1pPr>
            <a:lvl2pPr marL="808038" indent="-265113">
              <a:spcBef>
                <a:spcPts val="600"/>
              </a:spcBef>
              <a:spcAft>
                <a:spcPts val="600"/>
              </a:spcAft>
              <a:defRPr sz="1100"/>
            </a:lvl2pPr>
            <a:lvl3pPr marL="1169988" indent="-276225">
              <a:spcBef>
                <a:spcPts val="600"/>
              </a:spcBef>
              <a:spcAft>
                <a:spcPts val="600"/>
              </a:spcAft>
              <a:defRPr sz="1050"/>
            </a:lvl3pPr>
            <a:lvl4pPr marL="1520825" indent="-266700">
              <a:spcBef>
                <a:spcPts val="600"/>
              </a:spcBef>
              <a:spcAft>
                <a:spcPts val="600"/>
              </a:spcAft>
              <a:defRPr sz="1000"/>
            </a:lvl4pPr>
            <a:lvl5pPr marL="1881188" indent="-265113">
              <a:spcBef>
                <a:spcPts val="600"/>
              </a:spcBef>
              <a:spcAft>
                <a:spcPts val="600"/>
              </a:spcAft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Content Placeholder 5"/>
          <p:cNvSpPr>
            <a:spLocks noGrp="1"/>
          </p:cNvSpPr>
          <p:nvPr>
            <p:ph sz="quarter" idx="13"/>
          </p:nvPr>
        </p:nvSpPr>
        <p:spPr>
          <a:xfrm>
            <a:off x="431800" y="1016370"/>
            <a:ext cx="4496460" cy="3581030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355600" indent="-273050">
              <a:spcBef>
                <a:spcPts val="600"/>
              </a:spcBef>
              <a:spcAft>
                <a:spcPts val="600"/>
              </a:spcAft>
              <a:tabLst>
                <a:tab pos="542925" algn="l"/>
              </a:tabLst>
              <a:defRPr sz="1400"/>
            </a:lvl1pPr>
            <a:lvl2pPr marL="712788" indent="-261938">
              <a:spcBef>
                <a:spcPts val="600"/>
              </a:spcBef>
              <a:spcAft>
                <a:spcPts val="600"/>
              </a:spcAft>
              <a:defRPr sz="1200"/>
            </a:lvl2pPr>
            <a:lvl3pPr marL="1081088" indent="-273050">
              <a:spcBef>
                <a:spcPts val="600"/>
              </a:spcBef>
              <a:spcAft>
                <a:spcPts val="600"/>
              </a:spcAft>
              <a:defRPr sz="1100"/>
            </a:lvl3pPr>
            <a:lvl4pPr marL="1436688" indent="-273050">
              <a:spcBef>
                <a:spcPts val="600"/>
              </a:spcBef>
              <a:spcAft>
                <a:spcPts val="600"/>
              </a:spcAft>
              <a:defRPr sz="1050"/>
            </a:lvl4pPr>
            <a:lvl5pPr marL="1793875" indent="-273050">
              <a:spcBef>
                <a:spcPts val="600"/>
              </a:spcBef>
              <a:spcAft>
                <a:spcPts val="600"/>
              </a:spcAft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2461" y="136240"/>
            <a:ext cx="1209001" cy="545170"/>
          </a:xfrm>
          <a:prstGeom prst="rect">
            <a:avLst/>
          </a:prstGeom>
        </p:spPr>
      </p:pic>
      <p:grpSp>
        <p:nvGrpSpPr>
          <p:cNvPr id="22" name="Group 21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24" name="Rectangle 23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>
                <a:solidFill>
                  <a:schemeClr val="accent1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30" name="Content Placeholder 5"/>
          <p:cNvSpPr>
            <a:spLocks noGrp="1"/>
          </p:cNvSpPr>
          <p:nvPr>
            <p:ph sz="quarter" idx="14"/>
          </p:nvPr>
        </p:nvSpPr>
        <p:spPr>
          <a:xfrm>
            <a:off x="5164024" y="2858642"/>
            <a:ext cx="3522770" cy="1721891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88" indent="-265113">
              <a:spcBef>
                <a:spcPts val="600"/>
              </a:spcBef>
              <a:spcAft>
                <a:spcPts val="600"/>
              </a:spcAft>
              <a:tabLst>
                <a:tab pos="542925" algn="l"/>
              </a:tabLst>
              <a:defRPr sz="1200"/>
            </a:lvl1pPr>
            <a:lvl2pPr marL="808038" indent="-265113">
              <a:spcBef>
                <a:spcPts val="600"/>
              </a:spcBef>
              <a:spcAft>
                <a:spcPts val="600"/>
              </a:spcAft>
              <a:defRPr sz="1100"/>
            </a:lvl2pPr>
            <a:lvl3pPr marL="1169988" indent="-276225">
              <a:spcBef>
                <a:spcPts val="600"/>
              </a:spcBef>
              <a:spcAft>
                <a:spcPts val="600"/>
              </a:spcAft>
              <a:defRPr sz="1050"/>
            </a:lvl3pPr>
            <a:lvl4pPr marL="1520825" indent="-266700">
              <a:spcBef>
                <a:spcPts val="600"/>
              </a:spcBef>
              <a:spcAft>
                <a:spcPts val="600"/>
              </a:spcAft>
              <a:defRPr sz="1000"/>
            </a:lvl4pPr>
            <a:lvl5pPr marL="1881188" indent="-265113">
              <a:spcBef>
                <a:spcPts val="600"/>
              </a:spcBef>
              <a:spcAft>
                <a:spcPts val="600"/>
              </a:spcAft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4" y="4891580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rot="5400000">
            <a:off x="1135865" y="486756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464731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50" indent="-268288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8625" y="355847"/>
            <a:ext cx="814799" cy="367413"/>
          </a:xfrm>
          <a:prstGeom prst="rect">
            <a:avLst/>
          </a:prstGeom>
        </p:spPr>
      </p:pic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4" y="4891901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5054596" y="4915385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17525888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5"/>
          <p:cNvSpPr>
            <a:spLocks noGrp="1"/>
          </p:cNvSpPr>
          <p:nvPr>
            <p:ph sz="quarter" idx="12"/>
          </p:nvPr>
        </p:nvSpPr>
        <p:spPr>
          <a:xfrm>
            <a:off x="5082178" y="3297051"/>
            <a:ext cx="3596155" cy="1325749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88" indent="-265113">
              <a:spcBef>
                <a:spcPts val="600"/>
              </a:spcBef>
              <a:spcAft>
                <a:spcPts val="600"/>
              </a:spcAft>
              <a:tabLst>
                <a:tab pos="542925" algn="l"/>
              </a:tabLst>
              <a:defRPr sz="1100"/>
            </a:lvl1pPr>
            <a:lvl2pPr marL="808038" indent="-265113">
              <a:spcBef>
                <a:spcPts val="600"/>
              </a:spcBef>
              <a:spcAft>
                <a:spcPts val="600"/>
              </a:spcAft>
              <a:defRPr sz="1050"/>
            </a:lvl2pPr>
            <a:lvl3pPr marL="1169988" indent="-276225">
              <a:spcBef>
                <a:spcPts val="600"/>
              </a:spcBef>
              <a:spcAft>
                <a:spcPts val="600"/>
              </a:spcAft>
              <a:defRPr sz="1000"/>
            </a:lvl3pPr>
            <a:lvl4pPr marL="1520825" indent="-266700">
              <a:spcBef>
                <a:spcPts val="600"/>
              </a:spcBef>
              <a:spcAft>
                <a:spcPts val="600"/>
              </a:spcAft>
              <a:defRPr sz="900"/>
            </a:lvl4pPr>
            <a:lvl5pPr marL="1881188" indent="-265113">
              <a:spcBef>
                <a:spcPts val="600"/>
              </a:spcBef>
              <a:spcAft>
                <a:spcPts val="600"/>
              </a:spcAft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82764" y="1026208"/>
            <a:ext cx="3601153" cy="286815"/>
          </a:xfrm>
          <a:prstGeom prst="rect">
            <a:avLst/>
          </a:prstGeom>
          <a:noFill/>
        </p:spPr>
        <p:txBody>
          <a:bodyPr anchor="ctr"/>
          <a:lstStyle>
            <a:lvl1pPr marL="177800" indent="0">
              <a:buNone/>
              <a:defRPr sz="1200" b="1">
                <a:solidFill>
                  <a:schemeClr val="accent1"/>
                </a:solidFill>
              </a:defRPr>
            </a:lvl1pPr>
            <a:lvl2pPr marL="712788" indent="0">
              <a:buNone/>
              <a:defRPr/>
            </a:lvl2pPr>
            <a:lvl3pPr marL="1073150" indent="0">
              <a:buNone/>
              <a:defRPr/>
            </a:lvl3pPr>
            <a:lvl4pPr marL="1435100" indent="0">
              <a:buNone/>
              <a:defRPr/>
            </a:lvl4pPr>
            <a:lvl5pPr marL="1797050" indent="0">
              <a:buNone/>
              <a:defRPr/>
            </a:lvl5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082764" y="2942727"/>
            <a:ext cx="3601153" cy="286815"/>
          </a:xfrm>
          <a:prstGeom prst="rect">
            <a:avLst/>
          </a:prstGeom>
          <a:noFill/>
        </p:spPr>
        <p:txBody>
          <a:bodyPr anchor="ctr"/>
          <a:lstStyle>
            <a:lvl1pPr marL="177800" indent="0">
              <a:buNone/>
              <a:defRPr sz="1200" b="1">
                <a:solidFill>
                  <a:schemeClr val="accent1"/>
                </a:solidFill>
              </a:defRPr>
            </a:lvl1pPr>
            <a:lvl2pPr marL="712788" indent="0">
              <a:buNone/>
              <a:defRPr/>
            </a:lvl2pPr>
            <a:lvl3pPr marL="1073150" indent="0">
              <a:buNone/>
              <a:defRPr/>
            </a:lvl3pPr>
            <a:lvl4pPr marL="1435100" indent="0">
              <a:buNone/>
              <a:defRPr/>
            </a:lvl4pPr>
            <a:lvl5pPr marL="1797050" indent="0">
              <a:buNone/>
              <a:defRPr/>
            </a:lvl5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29" name="Content Placeholder 5"/>
          <p:cNvSpPr>
            <a:spLocks noGrp="1"/>
          </p:cNvSpPr>
          <p:nvPr>
            <p:ph sz="quarter" idx="16"/>
          </p:nvPr>
        </p:nvSpPr>
        <p:spPr>
          <a:xfrm>
            <a:off x="482600" y="1037802"/>
            <a:ext cx="4433784" cy="3584998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355600" indent="-273050">
              <a:spcBef>
                <a:spcPts val="600"/>
              </a:spcBef>
              <a:spcAft>
                <a:spcPts val="600"/>
              </a:spcAft>
              <a:tabLst>
                <a:tab pos="542925" algn="l"/>
              </a:tabLst>
              <a:defRPr sz="1400"/>
            </a:lvl1pPr>
            <a:lvl2pPr marL="712788" indent="-261938">
              <a:spcBef>
                <a:spcPts val="600"/>
              </a:spcBef>
              <a:spcAft>
                <a:spcPts val="600"/>
              </a:spcAft>
              <a:defRPr sz="1200"/>
            </a:lvl2pPr>
            <a:lvl3pPr marL="1081088" indent="-273050">
              <a:spcBef>
                <a:spcPts val="600"/>
              </a:spcBef>
              <a:spcAft>
                <a:spcPts val="600"/>
              </a:spcAft>
              <a:defRPr sz="1100"/>
            </a:lvl3pPr>
            <a:lvl4pPr marL="1436688" indent="-273050">
              <a:spcBef>
                <a:spcPts val="600"/>
              </a:spcBef>
              <a:spcAft>
                <a:spcPts val="600"/>
              </a:spcAft>
              <a:defRPr sz="1050"/>
            </a:lvl4pPr>
            <a:lvl5pPr marL="1793875" indent="-273050">
              <a:spcBef>
                <a:spcPts val="600"/>
              </a:spcBef>
              <a:spcAft>
                <a:spcPts val="600"/>
              </a:spcAft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2461" y="136240"/>
            <a:ext cx="1209001" cy="545170"/>
          </a:xfrm>
          <a:prstGeom prst="rect">
            <a:avLst/>
          </a:prstGeom>
        </p:spPr>
      </p:pic>
      <p:grpSp>
        <p:nvGrpSpPr>
          <p:cNvPr id="22" name="Group 21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24" name="Rectangle 23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>
                <a:solidFill>
                  <a:schemeClr val="accent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3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4" y="4891580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Content Placeholder 5"/>
          <p:cNvSpPr>
            <a:spLocks noGrp="1"/>
          </p:cNvSpPr>
          <p:nvPr>
            <p:ph sz="quarter" idx="17"/>
          </p:nvPr>
        </p:nvSpPr>
        <p:spPr>
          <a:xfrm>
            <a:off x="5090639" y="1400437"/>
            <a:ext cx="3596155" cy="1325749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88" indent="-265113">
              <a:spcBef>
                <a:spcPts val="600"/>
              </a:spcBef>
              <a:spcAft>
                <a:spcPts val="600"/>
              </a:spcAft>
              <a:tabLst>
                <a:tab pos="542925" algn="l"/>
              </a:tabLst>
              <a:defRPr sz="1100"/>
            </a:lvl1pPr>
            <a:lvl2pPr marL="808038" indent="-265113">
              <a:spcBef>
                <a:spcPts val="600"/>
              </a:spcBef>
              <a:spcAft>
                <a:spcPts val="600"/>
              </a:spcAft>
              <a:defRPr sz="1050"/>
            </a:lvl2pPr>
            <a:lvl3pPr marL="1169988" indent="-276225">
              <a:spcBef>
                <a:spcPts val="600"/>
              </a:spcBef>
              <a:spcAft>
                <a:spcPts val="600"/>
              </a:spcAft>
              <a:defRPr sz="1000"/>
            </a:lvl3pPr>
            <a:lvl4pPr marL="1520825" indent="-266700">
              <a:spcBef>
                <a:spcPts val="600"/>
              </a:spcBef>
              <a:spcAft>
                <a:spcPts val="600"/>
              </a:spcAft>
              <a:defRPr sz="900"/>
            </a:lvl4pPr>
            <a:lvl5pPr marL="1881188" indent="-265113">
              <a:spcBef>
                <a:spcPts val="600"/>
              </a:spcBef>
              <a:spcAft>
                <a:spcPts val="600"/>
              </a:spcAft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 rot="5400000">
            <a:off x="1135865" y="486756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1464731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50" indent="-268288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8625" y="355847"/>
            <a:ext cx="814799" cy="367413"/>
          </a:xfrm>
          <a:prstGeom prst="rect">
            <a:avLst/>
          </a:prstGeom>
        </p:spPr>
      </p:pic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4" y="4891901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23" name="Footer Placeholder 4"/>
          <p:cNvSpPr txBox="1">
            <a:spLocks/>
          </p:cNvSpPr>
          <p:nvPr userDrawn="1"/>
        </p:nvSpPr>
        <p:spPr>
          <a:xfrm>
            <a:off x="5054596" y="4915385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39149302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ontent Placeholder 5"/>
          <p:cNvSpPr>
            <a:spLocks noGrp="1"/>
          </p:cNvSpPr>
          <p:nvPr>
            <p:ph sz="quarter" idx="11"/>
          </p:nvPr>
        </p:nvSpPr>
        <p:spPr>
          <a:xfrm>
            <a:off x="5155562" y="1314731"/>
            <a:ext cx="3552169" cy="1360736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88" indent="-265113">
              <a:spcBef>
                <a:spcPts val="600"/>
              </a:spcBef>
              <a:spcAft>
                <a:spcPts val="600"/>
              </a:spcAft>
              <a:tabLst>
                <a:tab pos="542925" algn="l"/>
              </a:tabLst>
              <a:defRPr sz="1100"/>
            </a:lvl1pPr>
            <a:lvl2pPr marL="808038" indent="-265113">
              <a:spcBef>
                <a:spcPts val="600"/>
              </a:spcBef>
              <a:spcAft>
                <a:spcPts val="600"/>
              </a:spcAft>
              <a:defRPr sz="1050"/>
            </a:lvl2pPr>
            <a:lvl3pPr marL="1169988" indent="-276225">
              <a:spcBef>
                <a:spcPts val="600"/>
              </a:spcBef>
              <a:spcAft>
                <a:spcPts val="600"/>
              </a:spcAft>
              <a:defRPr sz="1000"/>
            </a:lvl3pPr>
            <a:lvl4pPr marL="1520825" indent="-266700">
              <a:spcBef>
                <a:spcPts val="600"/>
              </a:spcBef>
              <a:spcAft>
                <a:spcPts val="600"/>
              </a:spcAft>
              <a:defRPr sz="900"/>
            </a:lvl4pPr>
            <a:lvl5pPr marL="1881188" indent="-265113">
              <a:spcBef>
                <a:spcPts val="600"/>
              </a:spcBef>
              <a:spcAft>
                <a:spcPts val="600"/>
              </a:spcAft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Content Placeholder 5"/>
          <p:cNvSpPr>
            <a:spLocks noGrp="1"/>
          </p:cNvSpPr>
          <p:nvPr>
            <p:ph sz="quarter" idx="12"/>
          </p:nvPr>
        </p:nvSpPr>
        <p:spPr>
          <a:xfrm>
            <a:off x="5143097" y="3263284"/>
            <a:ext cx="3552169" cy="1393384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88" indent="-265113">
              <a:spcBef>
                <a:spcPts val="600"/>
              </a:spcBef>
              <a:spcAft>
                <a:spcPts val="600"/>
              </a:spcAft>
              <a:tabLst>
                <a:tab pos="542925" algn="l"/>
              </a:tabLst>
              <a:defRPr sz="1100"/>
            </a:lvl1pPr>
            <a:lvl2pPr marL="808038" indent="-265113">
              <a:spcBef>
                <a:spcPts val="600"/>
              </a:spcBef>
              <a:spcAft>
                <a:spcPts val="600"/>
              </a:spcAft>
              <a:defRPr sz="1050"/>
            </a:lvl2pPr>
            <a:lvl3pPr marL="1169988" indent="-276225">
              <a:spcBef>
                <a:spcPts val="600"/>
              </a:spcBef>
              <a:spcAft>
                <a:spcPts val="600"/>
              </a:spcAft>
              <a:defRPr sz="1000"/>
            </a:lvl3pPr>
            <a:lvl4pPr marL="1520825" indent="-266700">
              <a:spcBef>
                <a:spcPts val="600"/>
              </a:spcBef>
              <a:spcAft>
                <a:spcPts val="600"/>
              </a:spcAft>
              <a:defRPr sz="900"/>
            </a:lvl4pPr>
            <a:lvl5pPr marL="1881188" indent="-265113">
              <a:spcBef>
                <a:spcPts val="600"/>
              </a:spcBef>
              <a:spcAft>
                <a:spcPts val="600"/>
              </a:spcAft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2" name="Content Placeholder 5"/>
          <p:cNvSpPr>
            <a:spLocks noGrp="1"/>
          </p:cNvSpPr>
          <p:nvPr>
            <p:ph sz="quarter" idx="16"/>
          </p:nvPr>
        </p:nvSpPr>
        <p:spPr>
          <a:xfrm>
            <a:off x="440096" y="1313250"/>
            <a:ext cx="4464416" cy="136221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355600" indent="-273050">
              <a:spcBef>
                <a:spcPts val="600"/>
              </a:spcBef>
              <a:spcAft>
                <a:spcPts val="600"/>
              </a:spcAft>
              <a:tabLst>
                <a:tab pos="542925" algn="l"/>
              </a:tabLst>
              <a:defRPr sz="1100"/>
            </a:lvl1pPr>
            <a:lvl2pPr marL="808038" indent="-357188">
              <a:spcBef>
                <a:spcPts val="600"/>
              </a:spcBef>
              <a:spcAft>
                <a:spcPts val="600"/>
              </a:spcAft>
              <a:defRPr sz="1050"/>
            </a:lvl2pPr>
            <a:lvl3pPr marL="1169988" indent="-361950">
              <a:spcBef>
                <a:spcPts val="600"/>
              </a:spcBef>
              <a:spcAft>
                <a:spcPts val="600"/>
              </a:spcAft>
              <a:defRPr sz="1000"/>
            </a:lvl3pPr>
            <a:lvl4pPr marL="1520825" indent="-357188">
              <a:spcBef>
                <a:spcPts val="600"/>
              </a:spcBef>
              <a:spcAft>
                <a:spcPts val="600"/>
              </a:spcAft>
              <a:defRPr sz="900"/>
            </a:lvl4pPr>
            <a:lvl5pPr marL="1881188" indent="-360363">
              <a:spcBef>
                <a:spcPts val="600"/>
              </a:spcBef>
              <a:spcAft>
                <a:spcPts val="600"/>
              </a:spcAft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2171" y="1026583"/>
            <a:ext cx="2899632" cy="234707"/>
          </a:xfrm>
          <a:prstGeom prst="rect">
            <a:avLst/>
          </a:prstGeom>
          <a:noFill/>
        </p:spPr>
        <p:txBody>
          <a:bodyPr anchor="ctr"/>
          <a:lstStyle>
            <a:lvl1pPr marL="82550" indent="0">
              <a:buNone/>
              <a:defRPr sz="1200" b="1">
                <a:solidFill>
                  <a:schemeClr val="accent1"/>
                </a:solidFill>
              </a:defRPr>
            </a:lvl1pPr>
            <a:lvl2pPr marL="712788" indent="0">
              <a:buNone/>
              <a:defRPr/>
            </a:lvl2pPr>
            <a:lvl3pPr marL="1073150" indent="0">
              <a:buNone/>
              <a:defRPr/>
            </a:lvl3pPr>
            <a:lvl4pPr marL="1435100" indent="0">
              <a:buNone/>
              <a:defRPr/>
            </a:lvl4pPr>
            <a:lvl5pPr marL="1797050" indent="0">
              <a:buNone/>
              <a:defRPr/>
            </a:lvl5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34" name="Content Placeholder 5"/>
          <p:cNvSpPr>
            <a:spLocks noGrp="1"/>
          </p:cNvSpPr>
          <p:nvPr>
            <p:ph sz="quarter" idx="19"/>
          </p:nvPr>
        </p:nvSpPr>
        <p:spPr>
          <a:xfrm>
            <a:off x="440267" y="3262240"/>
            <a:ext cx="4464416" cy="139442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355600" indent="-273050">
              <a:spcBef>
                <a:spcPts val="600"/>
              </a:spcBef>
              <a:spcAft>
                <a:spcPts val="600"/>
              </a:spcAft>
              <a:tabLst>
                <a:tab pos="542925" algn="l"/>
              </a:tabLst>
              <a:defRPr sz="1100"/>
            </a:lvl1pPr>
            <a:lvl2pPr marL="808038" indent="-357188">
              <a:spcBef>
                <a:spcPts val="600"/>
              </a:spcBef>
              <a:spcAft>
                <a:spcPts val="600"/>
              </a:spcAft>
              <a:defRPr sz="1050"/>
            </a:lvl2pPr>
            <a:lvl3pPr marL="1169988" indent="-361950">
              <a:spcBef>
                <a:spcPts val="600"/>
              </a:spcBef>
              <a:spcAft>
                <a:spcPts val="600"/>
              </a:spcAft>
              <a:defRPr sz="1000"/>
            </a:lvl3pPr>
            <a:lvl4pPr marL="1520825" indent="-357188">
              <a:spcBef>
                <a:spcPts val="600"/>
              </a:spcBef>
              <a:spcAft>
                <a:spcPts val="600"/>
              </a:spcAft>
              <a:defRPr sz="900"/>
            </a:lvl4pPr>
            <a:lvl5pPr marL="1881188" indent="-360363">
              <a:spcBef>
                <a:spcPts val="600"/>
              </a:spcBef>
              <a:spcAft>
                <a:spcPts val="600"/>
              </a:spcAft>
              <a:defRPr sz="9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32343" y="2975573"/>
            <a:ext cx="2899632" cy="234707"/>
          </a:xfrm>
          <a:prstGeom prst="rect">
            <a:avLst/>
          </a:prstGeom>
          <a:noFill/>
        </p:spPr>
        <p:txBody>
          <a:bodyPr anchor="ctr"/>
          <a:lstStyle>
            <a:lvl1pPr marL="82550" indent="0">
              <a:buNone/>
              <a:defRPr sz="1200" b="1">
                <a:solidFill>
                  <a:schemeClr val="accent1"/>
                </a:solidFill>
              </a:defRPr>
            </a:lvl1pPr>
            <a:lvl2pPr marL="712788" indent="0">
              <a:buNone/>
              <a:defRPr/>
            </a:lvl2pPr>
            <a:lvl3pPr marL="1073150" indent="0">
              <a:buNone/>
              <a:defRPr/>
            </a:lvl3pPr>
            <a:lvl4pPr marL="1435100" indent="0">
              <a:buNone/>
              <a:defRPr/>
            </a:lvl4pPr>
            <a:lvl5pPr marL="1797050" indent="0">
              <a:buNone/>
              <a:defRPr/>
            </a:lvl5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27" name="Rectangle 26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>
                <a:solidFill>
                  <a:schemeClr val="accent1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3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4" y="4891580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 rot="5400000">
            <a:off x="1135865" y="486756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1464731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50" indent="-268288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8625" y="355847"/>
            <a:ext cx="814799" cy="367413"/>
          </a:xfrm>
          <a:prstGeom prst="rect">
            <a:avLst/>
          </a:prstGeom>
        </p:spPr>
      </p:pic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4" y="4891901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5054596" y="4915385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1305312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ontent Placeholder 3"/>
          <p:cNvSpPr>
            <a:spLocks noGrp="1"/>
          </p:cNvSpPr>
          <p:nvPr>
            <p:ph sz="quarter" idx="10"/>
          </p:nvPr>
        </p:nvSpPr>
        <p:spPr>
          <a:xfrm>
            <a:off x="408339" y="994579"/>
            <a:ext cx="3973950" cy="1697821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50850" indent="-368300">
              <a:spcBef>
                <a:spcPts val="600"/>
              </a:spcBef>
              <a:spcAft>
                <a:spcPts val="600"/>
              </a:spcAft>
              <a:defRPr sz="1200"/>
            </a:lvl1pPr>
            <a:lvl2pPr marL="808038" indent="-273050">
              <a:spcBef>
                <a:spcPts val="600"/>
              </a:spcBef>
              <a:spcAft>
                <a:spcPts val="600"/>
              </a:spcAft>
              <a:defRPr sz="1100"/>
            </a:lvl2pPr>
            <a:lvl3pPr marL="1163638" indent="-260350">
              <a:spcBef>
                <a:spcPts val="600"/>
              </a:spcBef>
              <a:spcAft>
                <a:spcPts val="600"/>
              </a:spcAft>
              <a:defRPr sz="1050"/>
            </a:lvl3pPr>
            <a:lvl4pPr marL="1520825" indent="-261938">
              <a:spcBef>
                <a:spcPts val="600"/>
              </a:spcBef>
              <a:spcAft>
                <a:spcPts val="600"/>
              </a:spcAft>
              <a:defRPr sz="1000"/>
            </a:lvl4pPr>
            <a:lvl5pPr marL="1887538" indent="-273050">
              <a:spcBef>
                <a:spcPts val="600"/>
              </a:spcBef>
              <a:spcAft>
                <a:spcPts val="600"/>
              </a:spcAft>
              <a:tabLst>
                <a:tab pos="1971675" algn="l"/>
              </a:tabLst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Content Placeholder 5"/>
          <p:cNvSpPr>
            <a:spLocks noGrp="1"/>
          </p:cNvSpPr>
          <p:nvPr>
            <p:ph sz="quarter" idx="11"/>
          </p:nvPr>
        </p:nvSpPr>
        <p:spPr>
          <a:xfrm>
            <a:off x="4697282" y="1003497"/>
            <a:ext cx="3973175" cy="1688903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88" indent="-265113">
              <a:spcBef>
                <a:spcPts val="600"/>
              </a:spcBef>
              <a:spcAft>
                <a:spcPts val="600"/>
              </a:spcAft>
              <a:tabLst>
                <a:tab pos="542925" algn="l"/>
              </a:tabLst>
              <a:defRPr sz="1200"/>
            </a:lvl1pPr>
            <a:lvl2pPr marL="808038" indent="-265113">
              <a:spcBef>
                <a:spcPts val="600"/>
              </a:spcBef>
              <a:spcAft>
                <a:spcPts val="600"/>
              </a:spcAft>
              <a:defRPr sz="1100"/>
            </a:lvl2pPr>
            <a:lvl3pPr marL="1169988" indent="-276225">
              <a:spcBef>
                <a:spcPts val="600"/>
              </a:spcBef>
              <a:spcAft>
                <a:spcPts val="600"/>
              </a:spcAft>
              <a:defRPr sz="1050"/>
            </a:lvl3pPr>
            <a:lvl4pPr marL="1520825" indent="-266700">
              <a:spcBef>
                <a:spcPts val="600"/>
              </a:spcBef>
              <a:spcAft>
                <a:spcPts val="600"/>
              </a:spcAft>
              <a:defRPr sz="1000"/>
            </a:lvl4pPr>
            <a:lvl5pPr marL="1881188" indent="-265113">
              <a:spcBef>
                <a:spcPts val="600"/>
              </a:spcBef>
              <a:spcAft>
                <a:spcPts val="600"/>
              </a:spcAft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2" name="Content Placeholder 5"/>
          <p:cNvSpPr>
            <a:spLocks noGrp="1"/>
          </p:cNvSpPr>
          <p:nvPr>
            <p:ph sz="quarter" idx="12"/>
          </p:nvPr>
        </p:nvSpPr>
        <p:spPr>
          <a:xfrm>
            <a:off x="4696692" y="2925322"/>
            <a:ext cx="3973175" cy="169747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88" indent="-265113">
              <a:spcBef>
                <a:spcPts val="600"/>
              </a:spcBef>
              <a:spcAft>
                <a:spcPts val="600"/>
              </a:spcAft>
              <a:tabLst>
                <a:tab pos="542925" algn="l"/>
              </a:tabLst>
              <a:defRPr sz="1200"/>
            </a:lvl1pPr>
            <a:lvl2pPr marL="808038" indent="-265113">
              <a:spcBef>
                <a:spcPts val="600"/>
              </a:spcBef>
              <a:spcAft>
                <a:spcPts val="600"/>
              </a:spcAft>
              <a:defRPr sz="1100"/>
            </a:lvl2pPr>
            <a:lvl3pPr marL="1169988" indent="-276225">
              <a:spcBef>
                <a:spcPts val="600"/>
              </a:spcBef>
              <a:spcAft>
                <a:spcPts val="600"/>
              </a:spcAft>
              <a:defRPr sz="1050"/>
            </a:lvl3pPr>
            <a:lvl4pPr marL="1520825" indent="-266700">
              <a:spcBef>
                <a:spcPts val="600"/>
              </a:spcBef>
              <a:spcAft>
                <a:spcPts val="600"/>
              </a:spcAft>
              <a:defRPr sz="1000"/>
            </a:lvl4pPr>
            <a:lvl5pPr marL="1881188" indent="-265113">
              <a:spcBef>
                <a:spcPts val="600"/>
              </a:spcBef>
              <a:spcAft>
                <a:spcPts val="600"/>
              </a:spcAft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3" name="Content Placeholder 3"/>
          <p:cNvSpPr>
            <a:spLocks noGrp="1"/>
          </p:cNvSpPr>
          <p:nvPr>
            <p:ph sz="quarter" idx="13"/>
          </p:nvPr>
        </p:nvSpPr>
        <p:spPr>
          <a:xfrm>
            <a:off x="431800" y="2925345"/>
            <a:ext cx="3973950" cy="1697821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50850" indent="-368300">
              <a:spcBef>
                <a:spcPts val="600"/>
              </a:spcBef>
              <a:spcAft>
                <a:spcPts val="600"/>
              </a:spcAft>
              <a:defRPr sz="1200"/>
            </a:lvl1pPr>
            <a:lvl2pPr marL="808038" indent="-273050">
              <a:spcBef>
                <a:spcPts val="600"/>
              </a:spcBef>
              <a:spcAft>
                <a:spcPts val="600"/>
              </a:spcAft>
              <a:defRPr sz="1100"/>
            </a:lvl2pPr>
            <a:lvl3pPr marL="1163638" indent="-260350">
              <a:spcBef>
                <a:spcPts val="600"/>
              </a:spcBef>
              <a:spcAft>
                <a:spcPts val="600"/>
              </a:spcAft>
              <a:defRPr sz="1050"/>
            </a:lvl3pPr>
            <a:lvl4pPr marL="1520825" indent="-261938">
              <a:spcBef>
                <a:spcPts val="600"/>
              </a:spcBef>
              <a:spcAft>
                <a:spcPts val="600"/>
              </a:spcAft>
              <a:defRPr sz="1000"/>
            </a:lvl4pPr>
            <a:lvl5pPr marL="1887538" indent="-273050">
              <a:spcBef>
                <a:spcPts val="600"/>
              </a:spcBef>
              <a:spcAft>
                <a:spcPts val="600"/>
              </a:spcAft>
              <a:tabLst>
                <a:tab pos="1971675" algn="l"/>
              </a:tabLst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2461" y="136240"/>
            <a:ext cx="1209001" cy="545170"/>
          </a:xfrm>
          <a:prstGeom prst="rect">
            <a:avLst/>
          </a:prstGeom>
        </p:spPr>
      </p:pic>
      <p:grpSp>
        <p:nvGrpSpPr>
          <p:cNvPr id="19" name="Group 18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20" name="Rectangle 19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>
                <a:solidFill>
                  <a:schemeClr val="accent1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2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4" y="4891580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6" name="Straight Connector 15"/>
          <p:cNvCxnSpPr/>
          <p:nvPr userDrawn="1"/>
        </p:nvCxnSpPr>
        <p:spPr>
          <a:xfrm rot="5400000">
            <a:off x="1135865" y="486756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1464731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50" indent="-268288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8625" y="355847"/>
            <a:ext cx="814799" cy="367413"/>
          </a:xfrm>
          <a:prstGeom prst="rect">
            <a:avLst/>
          </a:prstGeom>
        </p:spPr>
      </p:pic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4" y="4891901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25" name="Footer Placeholder 4"/>
          <p:cNvSpPr txBox="1">
            <a:spLocks/>
          </p:cNvSpPr>
          <p:nvPr userDrawn="1"/>
        </p:nvSpPr>
        <p:spPr>
          <a:xfrm>
            <a:off x="5054596" y="4915385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20889338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2"/>
          <p:cNvSpPr>
            <a:spLocks noGrp="1"/>
          </p:cNvSpPr>
          <p:nvPr>
            <p:ph type="body" sz="quarter" idx="23"/>
          </p:nvPr>
        </p:nvSpPr>
        <p:spPr>
          <a:xfrm>
            <a:off x="454609" y="941906"/>
            <a:ext cx="890475" cy="57154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marL="82550" indent="0">
              <a:buNone/>
              <a:defRPr sz="7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Picture Placeholder 7"/>
          <p:cNvSpPr>
            <a:spLocks noGrp="1" noChangeAspect="1"/>
          </p:cNvSpPr>
          <p:nvPr>
            <p:ph type="pic" sz="quarter" idx="13"/>
          </p:nvPr>
        </p:nvSpPr>
        <p:spPr>
          <a:xfrm>
            <a:off x="635313" y="996673"/>
            <a:ext cx="540000" cy="540000"/>
          </a:xfrm>
          <a:prstGeom prst="rect">
            <a:avLst/>
          </a:prstGeom>
          <a:noFill/>
        </p:spPr>
        <p:txBody>
          <a:bodyPr anchor="ctr"/>
          <a:lstStyle>
            <a:lvl1pPr marL="82550" indent="0" algn="l">
              <a:buNone/>
              <a:defRPr sz="7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3" name="Text Placeholder 32"/>
          <p:cNvSpPr>
            <a:spLocks noGrp="1"/>
          </p:cNvSpPr>
          <p:nvPr>
            <p:ph type="body" sz="quarter" idx="14" hasCustomPrompt="1"/>
          </p:nvPr>
        </p:nvSpPr>
        <p:spPr>
          <a:xfrm>
            <a:off x="1491226" y="941906"/>
            <a:ext cx="7158532" cy="571547"/>
          </a:xfrm>
          <a:prstGeom prst="rect">
            <a:avLst/>
          </a:prstGeom>
        </p:spPr>
        <p:txBody>
          <a:bodyPr anchor="ctr"/>
          <a:lstStyle>
            <a:lvl1pPr marL="82550" indent="0">
              <a:buNone/>
              <a:defRPr sz="1200"/>
            </a:lvl1pPr>
          </a:lstStyle>
          <a:p>
            <a:pPr lvl="0"/>
            <a:r>
              <a:rPr lang="en-US" dirty="0"/>
              <a:t>Text here</a:t>
            </a:r>
            <a:endParaRPr lang="en-GB" dirty="0"/>
          </a:p>
        </p:txBody>
      </p:sp>
      <p:sp>
        <p:nvSpPr>
          <p:cNvPr id="25" name="Text Placeholder 32"/>
          <p:cNvSpPr>
            <a:spLocks noGrp="1"/>
          </p:cNvSpPr>
          <p:nvPr>
            <p:ph type="body" sz="quarter" idx="16" hasCustomPrompt="1"/>
          </p:nvPr>
        </p:nvSpPr>
        <p:spPr>
          <a:xfrm>
            <a:off x="1500751" y="1720575"/>
            <a:ext cx="7158532" cy="571547"/>
          </a:xfrm>
          <a:prstGeom prst="rect">
            <a:avLst/>
          </a:prstGeom>
        </p:spPr>
        <p:txBody>
          <a:bodyPr anchor="ctr"/>
          <a:lstStyle>
            <a:lvl1pPr marL="82550" indent="0">
              <a:buNone/>
              <a:defRPr sz="1200"/>
            </a:lvl1pPr>
          </a:lstStyle>
          <a:p>
            <a:pPr lvl="0"/>
            <a:r>
              <a:rPr lang="en-US" dirty="0"/>
              <a:t>Text here</a:t>
            </a:r>
            <a:endParaRPr lang="en-GB" dirty="0"/>
          </a:p>
        </p:txBody>
      </p:sp>
      <p:sp>
        <p:nvSpPr>
          <p:cNvPr id="26" name="Text Placeholder 32"/>
          <p:cNvSpPr>
            <a:spLocks noGrp="1"/>
          </p:cNvSpPr>
          <p:nvPr>
            <p:ph type="body" sz="quarter" idx="18" hasCustomPrompt="1"/>
          </p:nvPr>
        </p:nvSpPr>
        <p:spPr>
          <a:xfrm>
            <a:off x="1500751" y="2484956"/>
            <a:ext cx="7158532" cy="578655"/>
          </a:xfrm>
          <a:prstGeom prst="rect">
            <a:avLst/>
          </a:prstGeom>
        </p:spPr>
        <p:txBody>
          <a:bodyPr anchor="ctr"/>
          <a:lstStyle>
            <a:lvl1pPr marL="82550" indent="0">
              <a:buNone/>
              <a:defRPr sz="1200"/>
            </a:lvl1pPr>
          </a:lstStyle>
          <a:p>
            <a:pPr lvl="0"/>
            <a:r>
              <a:rPr lang="en-US" dirty="0"/>
              <a:t>Text here</a:t>
            </a:r>
            <a:endParaRPr lang="en-GB" dirty="0"/>
          </a:p>
        </p:txBody>
      </p:sp>
      <p:sp>
        <p:nvSpPr>
          <p:cNvPr id="27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1510276" y="3277912"/>
            <a:ext cx="7158532" cy="578655"/>
          </a:xfrm>
          <a:prstGeom prst="rect">
            <a:avLst/>
          </a:prstGeom>
        </p:spPr>
        <p:txBody>
          <a:bodyPr anchor="ctr"/>
          <a:lstStyle>
            <a:lvl1pPr marL="82550" indent="0">
              <a:buNone/>
              <a:defRPr sz="1200"/>
            </a:lvl1pPr>
          </a:lstStyle>
          <a:p>
            <a:pPr lvl="0"/>
            <a:r>
              <a:rPr lang="en-US" dirty="0"/>
              <a:t>Text here</a:t>
            </a:r>
            <a:endParaRPr lang="en-GB" dirty="0"/>
          </a:p>
        </p:txBody>
      </p:sp>
      <p:sp>
        <p:nvSpPr>
          <p:cNvPr id="28" name="Text Placeholder 32"/>
          <p:cNvSpPr>
            <a:spLocks noGrp="1"/>
          </p:cNvSpPr>
          <p:nvPr>
            <p:ph type="body" sz="quarter" idx="22" hasCustomPrompt="1"/>
          </p:nvPr>
        </p:nvSpPr>
        <p:spPr>
          <a:xfrm>
            <a:off x="1519801" y="4078012"/>
            <a:ext cx="7158532" cy="578655"/>
          </a:xfrm>
          <a:prstGeom prst="rect">
            <a:avLst/>
          </a:prstGeom>
        </p:spPr>
        <p:txBody>
          <a:bodyPr anchor="ctr"/>
          <a:lstStyle>
            <a:lvl1pPr marL="82550" indent="0">
              <a:buNone/>
              <a:defRPr sz="1200"/>
            </a:lvl1pPr>
          </a:lstStyle>
          <a:p>
            <a:pPr lvl="0"/>
            <a:r>
              <a:rPr lang="en-US" dirty="0"/>
              <a:t>Text here</a:t>
            </a:r>
            <a:endParaRPr lang="en-GB" dirty="0"/>
          </a:p>
        </p:txBody>
      </p:sp>
      <p:sp>
        <p:nvSpPr>
          <p:cNvPr id="29" name="Text Placeholder 32"/>
          <p:cNvSpPr>
            <a:spLocks noGrp="1"/>
          </p:cNvSpPr>
          <p:nvPr>
            <p:ph type="body" sz="quarter" idx="24"/>
          </p:nvPr>
        </p:nvSpPr>
        <p:spPr>
          <a:xfrm>
            <a:off x="454609" y="1706512"/>
            <a:ext cx="890475" cy="58795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marL="82550" indent="0">
              <a:buNone/>
              <a:defRPr sz="7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Picture Placeholder 7"/>
          <p:cNvSpPr>
            <a:spLocks noGrp="1" noChangeAspect="1"/>
          </p:cNvSpPr>
          <p:nvPr>
            <p:ph type="pic" sz="quarter" idx="25"/>
          </p:nvPr>
        </p:nvSpPr>
        <p:spPr>
          <a:xfrm>
            <a:off x="635313" y="1761279"/>
            <a:ext cx="540000" cy="467969"/>
          </a:xfrm>
          <a:prstGeom prst="rect">
            <a:avLst/>
          </a:prstGeom>
          <a:noFill/>
        </p:spPr>
        <p:txBody>
          <a:bodyPr anchor="ctr"/>
          <a:lstStyle>
            <a:lvl1pPr marL="82550" indent="0" algn="l">
              <a:buNone/>
              <a:defRPr sz="7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1" name="Text Placeholder 32"/>
          <p:cNvSpPr>
            <a:spLocks noGrp="1"/>
          </p:cNvSpPr>
          <p:nvPr>
            <p:ph type="body" sz="quarter" idx="26"/>
          </p:nvPr>
        </p:nvSpPr>
        <p:spPr>
          <a:xfrm>
            <a:off x="458800" y="2492324"/>
            <a:ext cx="890475" cy="57260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marL="82550" indent="0">
              <a:buNone/>
              <a:defRPr sz="7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Picture Placeholder 7"/>
          <p:cNvSpPr>
            <a:spLocks noGrp="1" noChangeAspect="1"/>
          </p:cNvSpPr>
          <p:nvPr>
            <p:ph type="pic" sz="quarter" idx="27"/>
          </p:nvPr>
        </p:nvSpPr>
        <p:spPr>
          <a:xfrm>
            <a:off x="639504" y="2547092"/>
            <a:ext cx="540000" cy="467969"/>
          </a:xfrm>
          <a:prstGeom prst="rect">
            <a:avLst/>
          </a:prstGeom>
          <a:noFill/>
        </p:spPr>
        <p:txBody>
          <a:bodyPr anchor="ctr"/>
          <a:lstStyle>
            <a:lvl1pPr marL="82550" indent="0" algn="l">
              <a:buNone/>
              <a:defRPr sz="7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28"/>
          </p:nvPr>
        </p:nvSpPr>
        <p:spPr>
          <a:xfrm>
            <a:off x="464134" y="3283676"/>
            <a:ext cx="890475" cy="56865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marL="82550" indent="0">
              <a:buNone/>
              <a:defRPr sz="7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Picture Placeholder 7"/>
          <p:cNvSpPr>
            <a:spLocks noGrp="1" noChangeAspect="1"/>
          </p:cNvSpPr>
          <p:nvPr>
            <p:ph type="pic" sz="quarter" idx="29"/>
          </p:nvPr>
        </p:nvSpPr>
        <p:spPr>
          <a:xfrm>
            <a:off x="644838" y="3338444"/>
            <a:ext cx="540000" cy="467969"/>
          </a:xfrm>
          <a:prstGeom prst="rect">
            <a:avLst/>
          </a:prstGeom>
          <a:noFill/>
        </p:spPr>
        <p:txBody>
          <a:bodyPr anchor="ctr"/>
          <a:lstStyle>
            <a:lvl1pPr marL="82550" indent="0" algn="l">
              <a:buNone/>
              <a:defRPr sz="7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30"/>
          </p:nvPr>
        </p:nvSpPr>
        <p:spPr>
          <a:xfrm>
            <a:off x="476009" y="4089400"/>
            <a:ext cx="890475" cy="56726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marL="82550" indent="0">
              <a:buNone/>
              <a:defRPr sz="7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Picture Placeholder 7"/>
          <p:cNvSpPr>
            <a:spLocks noGrp="1" noChangeAspect="1"/>
          </p:cNvSpPr>
          <p:nvPr>
            <p:ph type="pic" sz="quarter" idx="31"/>
          </p:nvPr>
        </p:nvSpPr>
        <p:spPr>
          <a:xfrm>
            <a:off x="656713" y="4148087"/>
            <a:ext cx="540000" cy="467969"/>
          </a:xfrm>
          <a:prstGeom prst="rect">
            <a:avLst/>
          </a:prstGeom>
          <a:noFill/>
        </p:spPr>
        <p:txBody>
          <a:bodyPr anchor="ctr"/>
          <a:lstStyle>
            <a:lvl1pPr marL="82550" indent="0" algn="l">
              <a:buNone/>
              <a:defRPr sz="7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7" name="Group 46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48" name="Rectangle 47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>
                <a:solidFill>
                  <a:schemeClr val="accent1"/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5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4" y="4891580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37" name="Straight Connector 36"/>
          <p:cNvCxnSpPr/>
          <p:nvPr userDrawn="1"/>
        </p:nvCxnSpPr>
        <p:spPr>
          <a:xfrm rot="5400000">
            <a:off x="1135865" y="486756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tle 1"/>
          <p:cNvSpPr>
            <a:spLocks noGrp="1"/>
          </p:cNvSpPr>
          <p:nvPr>
            <p:ph type="title" hasCustomPrompt="1"/>
          </p:nvPr>
        </p:nvSpPr>
        <p:spPr>
          <a:xfrm>
            <a:off x="1464731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50" indent="-268288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39" name="Picture 3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8625" y="355847"/>
            <a:ext cx="814799" cy="367413"/>
          </a:xfrm>
          <a:prstGeom prst="rect">
            <a:avLst/>
          </a:prstGeom>
        </p:spPr>
      </p:pic>
      <p:sp>
        <p:nvSpPr>
          <p:cNvPr id="4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4" y="4891901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41" name="Footer Placeholder 4"/>
          <p:cNvSpPr txBox="1">
            <a:spLocks/>
          </p:cNvSpPr>
          <p:nvPr userDrawn="1"/>
        </p:nvSpPr>
        <p:spPr>
          <a:xfrm>
            <a:off x="5054596" y="4915385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14997064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2461" y="136240"/>
            <a:ext cx="1209001" cy="545170"/>
          </a:xfrm>
          <a:prstGeom prst="rect">
            <a:avLst/>
          </a:prstGeom>
        </p:spPr>
      </p:pic>
      <p:grpSp>
        <p:nvGrpSpPr>
          <p:cNvPr id="17" name="Group 16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18" name="Rectangle 17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>
                <a:solidFill>
                  <a:schemeClr val="accent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2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4" y="4891580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 rot="5400000">
            <a:off x="1135865" y="486756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464731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50" indent="-268288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8625" y="355847"/>
            <a:ext cx="814799" cy="367413"/>
          </a:xfrm>
          <a:prstGeom prst="rect">
            <a:avLst/>
          </a:prstGeom>
        </p:spPr>
      </p:pic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4" y="4891901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5054596" y="4915385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21768629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27038" y="1851670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3039979" y="0"/>
            <a:ext cx="3072063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6107868" y="0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419872" y="1851670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444208" y="1851670"/>
            <a:ext cx="2261642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91736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" y="3416854"/>
            <a:ext cx="8940800" cy="672704"/>
          </a:xfrm>
          <a:prstGeom prst="rect">
            <a:avLst/>
          </a:prstGeom>
        </p:spPr>
        <p:txBody>
          <a:bodyPr/>
          <a:lstStyle>
            <a:lvl1pPr marL="361941" indent="0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118134"/>
            <a:ext cx="8999621" cy="614363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461077"/>
            <a:ext cx="4705684" cy="292894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623" y="315025"/>
            <a:ext cx="1208999" cy="545169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16" name="Rectangle 15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3379" y="451426"/>
            <a:ext cx="527711" cy="52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3522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2465" y="136242"/>
            <a:ext cx="1209001" cy="545170"/>
          </a:xfrm>
          <a:prstGeom prst="rect">
            <a:avLst/>
          </a:prstGeom>
        </p:spPr>
      </p:pic>
      <p:sp>
        <p:nvSpPr>
          <p:cNvPr id="2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5" y="4891582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 rot="5400000">
            <a:off x="1135865" y="486758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464735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14" indent="-268262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629" y="355847"/>
            <a:ext cx="814799" cy="367413"/>
          </a:xfrm>
          <a:prstGeom prst="rect">
            <a:avLst/>
          </a:prstGeom>
        </p:spPr>
      </p:pic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8" y="4891903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5054598" y="4915386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7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83029825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rcRect t="10489" b="5136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" y="3416854"/>
            <a:ext cx="8940800" cy="672704"/>
          </a:xfrm>
          <a:prstGeom prst="rect">
            <a:avLst/>
          </a:prstGeom>
        </p:spPr>
        <p:txBody>
          <a:bodyPr/>
          <a:lstStyle>
            <a:lvl1pPr marL="361941" indent="0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118134"/>
            <a:ext cx="8999621" cy="614363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461077"/>
            <a:ext cx="4705684" cy="292894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8623" y="315025"/>
            <a:ext cx="1208999" cy="545169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16" name="Rectangle 15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3379" y="451426"/>
            <a:ext cx="527711" cy="52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49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rcRect t="10489" b="5136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" y="3416854"/>
            <a:ext cx="8940800" cy="672704"/>
          </a:xfrm>
          <a:prstGeom prst="rect">
            <a:avLst/>
          </a:prstGeom>
        </p:spPr>
        <p:txBody>
          <a:bodyPr/>
          <a:lstStyle>
            <a:lvl1pPr marL="361941" indent="0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118134"/>
            <a:ext cx="8999621" cy="614363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461077"/>
            <a:ext cx="4705684" cy="292894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8623" y="315025"/>
            <a:ext cx="1208999" cy="54516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3379" y="451426"/>
            <a:ext cx="527711" cy="52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8674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rcRect t="10451" r="-93" b="5035"/>
          <a:stretch>
            <a:fillRect/>
          </a:stretch>
        </p:blipFill>
        <p:spPr>
          <a:xfrm>
            <a:off x="0" y="-16229"/>
            <a:ext cx="9180000" cy="5175958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" y="3416854"/>
            <a:ext cx="8940800" cy="672704"/>
          </a:xfrm>
          <a:prstGeom prst="rect">
            <a:avLst/>
          </a:prstGeom>
        </p:spPr>
        <p:txBody>
          <a:bodyPr/>
          <a:lstStyle>
            <a:lvl1pPr marL="361941" indent="0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118134"/>
            <a:ext cx="8999621" cy="614363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461077"/>
            <a:ext cx="4705684" cy="292894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8623" y="315025"/>
            <a:ext cx="1208999" cy="545169"/>
          </a:xfrm>
          <a:prstGeom prst="rect">
            <a:avLst/>
          </a:prstGeom>
        </p:spPr>
      </p:pic>
      <p:grpSp>
        <p:nvGrpSpPr>
          <p:cNvPr id="2" name="Group 12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16" name="Rectangle 15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3379" y="451426"/>
            <a:ext cx="527711" cy="52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99280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rcRect t="10451" r="-93" b="5035"/>
          <a:stretch>
            <a:fillRect/>
          </a:stretch>
        </p:blipFill>
        <p:spPr>
          <a:xfrm>
            <a:off x="-1" y="-5190"/>
            <a:ext cx="9273327" cy="5220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" y="3416854"/>
            <a:ext cx="8940800" cy="672704"/>
          </a:xfrm>
          <a:prstGeom prst="rect">
            <a:avLst/>
          </a:prstGeom>
        </p:spPr>
        <p:txBody>
          <a:bodyPr/>
          <a:lstStyle>
            <a:lvl1pPr marL="361941" indent="0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118134"/>
            <a:ext cx="8999621" cy="614363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461077"/>
            <a:ext cx="4705684" cy="292894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8623" y="315025"/>
            <a:ext cx="1208999" cy="54516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3379" y="451426"/>
            <a:ext cx="527711" cy="52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7058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rcRect b="15713"/>
          <a:stretch>
            <a:fillRect/>
          </a:stretch>
        </p:blipFill>
        <p:spPr>
          <a:xfrm>
            <a:off x="1" y="0"/>
            <a:ext cx="9153518" cy="51435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" y="3416854"/>
            <a:ext cx="8940800" cy="672704"/>
          </a:xfrm>
          <a:prstGeom prst="rect">
            <a:avLst/>
          </a:prstGeom>
        </p:spPr>
        <p:txBody>
          <a:bodyPr/>
          <a:lstStyle>
            <a:lvl1pPr marL="361941" indent="0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118134"/>
            <a:ext cx="8999621" cy="614363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461077"/>
            <a:ext cx="4705684" cy="292894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8623" y="315025"/>
            <a:ext cx="1208999" cy="545169"/>
          </a:xfrm>
          <a:prstGeom prst="rect">
            <a:avLst/>
          </a:prstGeom>
        </p:spPr>
      </p:pic>
      <p:grpSp>
        <p:nvGrpSpPr>
          <p:cNvPr id="2" name="Group 12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16" name="Rectangle 15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3379" y="451426"/>
            <a:ext cx="527711" cy="52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0982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rcRect b="15713"/>
          <a:stretch>
            <a:fillRect/>
          </a:stretch>
        </p:blipFill>
        <p:spPr>
          <a:xfrm>
            <a:off x="1" y="0"/>
            <a:ext cx="9153518" cy="51435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" y="3416854"/>
            <a:ext cx="8940800" cy="672704"/>
          </a:xfrm>
          <a:prstGeom prst="rect">
            <a:avLst/>
          </a:prstGeom>
        </p:spPr>
        <p:txBody>
          <a:bodyPr/>
          <a:lstStyle>
            <a:lvl1pPr marL="361941" indent="0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118134"/>
            <a:ext cx="8999621" cy="614363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461077"/>
            <a:ext cx="4705684" cy="292894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8623" y="315025"/>
            <a:ext cx="1208999" cy="54516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3379" y="451426"/>
            <a:ext cx="527711" cy="52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1300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rcRect t="11797" b="4870"/>
          <a:stretch>
            <a:fillRect/>
          </a:stretch>
        </p:blipFill>
        <p:spPr>
          <a:xfrm>
            <a:off x="-5270" y="0"/>
            <a:ext cx="9258301" cy="51435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" y="3416854"/>
            <a:ext cx="8940800" cy="672704"/>
          </a:xfrm>
          <a:prstGeom prst="rect">
            <a:avLst/>
          </a:prstGeom>
        </p:spPr>
        <p:txBody>
          <a:bodyPr/>
          <a:lstStyle>
            <a:lvl1pPr marL="361941" indent="0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118134"/>
            <a:ext cx="8999621" cy="614363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461077"/>
            <a:ext cx="4705684" cy="292894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8623" y="315025"/>
            <a:ext cx="1208999" cy="545169"/>
          </a:xfrm>
          <a:prstGeom prst="rect">
            <a:avLst/>
          </a:prstGeom>
        </p:spPr>
      </p:pic>
      <p:grpSp>
        <p:nvGrpSpPr>
          <p:cNvPr id="2" name="Group 12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16" name="Rectangle 15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3379" y="451426"/>
            <a:ext cx="527711" cy="52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76326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rcRect t="11797" b="4870"/>
          <a:stretch>
            <a:fillRect/>
          </a:stretch>
        </p:blipFill>
        <p:spPr>
          <a:xfrm>
            <a:off x="-5270" y="0"/>
            <a:ext cx="9258301" cy="51435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" y="3416854"/>
            <a:ext cx="8940800" cy="672704"/>
          </a:xfrm>
          <a:prstGeom prst="rect">
            <a:avLst/>
          </a:prstGeom>
        </p:spPr>
        <p:txBody>
          <a:bodyPr/>
          <a:lstStyle>
            <a:lvl1pPr marL="361941" indent="0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118134"/>
            <a:ext cx="8999621" cy="614363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461077"/>
            <a:ext cx="4705684" cy="292894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8623" y="315025"/>
            <a:ext cx="1208999" cy="54516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3379" y="451426"/>
            <a:ext cx="527711" cy="52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0060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29780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99000"/>
                  <a:lumOff val="1000"/>
                  <a:alpha val="28000"/>
                </a:schemeClr>
              </a:gs>
              <a:gs pos="1000">
                <a:schemeClr val="tx1">
                  <a:lumMod val="95000"/>
                  <a:lumOff val="5000"/>
                  <a:alpha val="26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0" y="2020491"/>
            <a:ext cx="5791200" cy="672704"/>
          </a:xfrm>
          <a:prstGeom prst="rect">
            <a:avLst/>
          </a:prstGeom>
        </p:spPr>
        <p:txBody>
          <a:bodyPr/>
          <a:lstStyle>
            <a:lvl1pPr marL="361941" indent="0">
              <a:defRPr sz="2400" b="0">
                <a:solidFill>
                  <a:srgbClr val="55517B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721770"/>
            <a:ext cx="5829300" cy="614363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357564"/>
            <a:ext cx="3048000" cy="292894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9204" y="240270"/>
            <a:ext cx="1213033" cy="546988"/>
          </a:xfrm>
          <a:prstGeom prst="rect">
            <a:avLst/>
          </a:prstGeom>
        </p:spPr>
      </p:pic>
      <p:grpSp>
        <p:nvGrpSpPr>
          <p:cNvPr id="14" name="Group 13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15" name="Rectangle 14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3379" y="451426"/>
            <a:ext cx="527711" cy="52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20661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9E9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0" y="2020491"/>
            <a:ext cx="5791200" cy="672704"/>
          </a:xfrm>
          <a:prstGeom prst="rect">
            <a:avLst/>
          </a:prstGeom>
        </p:spPr>
        <p:txBody>
          <a:bodyPr/>
          <a:lstStyle>
            <a:lvl1pPr marL="361941" indent="0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721770"/>
            <a:ext cx="5829300" cy="614363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357564"/>
            <a:ext cx="3048000" cy="292894"/>
          </a:xfrm>
          <a:prstGeom prst="rect">
            <a:avLst/>
          </a:prstGeom>
        </p:spPr>
        <p:txBody>
          <a:bodyPr/>
          <a:lstStyle>
            <a:lvl1pPr marL="361941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grpSp>
        <p:nvGrpSpPr>
          <p:cNvPr id="2" name="Group 13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15" name="Rectangle 14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8623" y="237265"/>
            <a:ext cx="1208999" cy="54516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3379" y="451426"/>
            <a:ext cx="527711" cy="52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19612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6"/>
          <p:cNvSpPr>
            <a:spLocks noGrp="1"/>
          </p:cNvSpPr>
          <p:nvPr>
            <p:ph sz="quarter" idx="10"/>
          </p:nvPr>
        </p:nvSpPr>
        <p:spPr>
          <a:xfrm>
            <a:off x="1480300" y="937023"/>
            <a:ext cx="7206501" cy="3689406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lIns="0"/>
          <a:lstStyle>
            <a:lvl1pPr marL="450839" indent="-368291">
              <a:spcBef>
                <a:spcPts val="600"/>
              </a:spcBef>
              <a:spcAft>
                <a:spcPts val="600"/>
              </a:spcAft>
              <a:defRPr sz="1400"/>
            </a:lvl1pPr>
            <a:lvl2pPr marL="808018" indent="-273044">
              <a:spcBef>
                <a:spcPts val="600"/>
              </a:spcBef>
              <a:spcAft>
                <a:spcPts val="600"/>
              </a:spcAft>
              <a:defRPr sz="1200"/>
            </a:lvl2pPr>
            <a:lvl3pPr marL="1163609" indent="-260344">
              <a:spcBef>
                <a:spcPts val="600"/>
              </a:spcBef>
              <a:spcAft>
                <a:spcPts val="600"/>
              </a:spcAft>
              <a:defRPr sz="1100"/>
            </a:lvl3pPr>
            <a:lvl4pPr>
              <a:spcBef>
                <a:spcPts val="600"/>
              </a:spcBef>
              <a:spcAft>
                <a:spcPts val="600"/>
              </a:spcAft>
              <a:defRPr sz="1050"/>
            </a:lvl4pPr>
            <a:lvl5pPr>
              <a:spcBef>
                <a:spcPts val="600"/>
              </a:spcBef>
              <a:spcAft>
                <a:spcPts val="60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5" y="4891902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5" y="4891581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5054597" y="4915386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8626" y="355847"/>
            <a:ext cx="814799" cy="367413"/>
          </a:xfrm>
          <a:prstGeom prst="rect">
            <a:avLst/>
          </a:prstGeom>
        </p:spPr>
      </p:pic>
      <p:grpSp>
        <p:nvGrpSpPr>
          <p:cNvPr id="22" name="Group 21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23" name="Rectangle 2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cxnSp>
        <p:nvCxnSpPr>
          <p:cNvPr id="15" name="Straight Connector 14"/>
          <p:cNvCxnSpPr/>
          <p:nvPr userDrawn="1"/>
        </p:nvCxnSpPr>
        <p:spPr>
          <a:xfrm rot="5400000">
            <a:off x="1135865" y="486757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1464732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41" indent="-268281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391305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1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23" name="Rectangle 2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440267" y="1424111"/>
            <a:ext cx="4014507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/>
          </p:nvPr>
        </p:nvSpPr>
        <p:spPr>
          <a:xfrm>
            <a:off x="440267" y="1779662"/>
            <a:ext cx="4014507" cy="2814960"/>
          </a:xfrm>
          <a:prstGeom prst="rect">
            <a:avLst/>
          </a:prstGeom>
        </p:spPr>
        <p:txBody>
          <a:bodyPr/>
          <a:lstStyle>
            <a:lvl1pPr marL="342892" indent="-342892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31" indent="-285743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2972" indent="-228594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160" indent="-228594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348" indent="-228594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JM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45027" y="1424111"/>
            <a:ext cx="4041775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5517B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11"/>
          </p:nvPr>
        </p:nvSpPr>
        <p:spPr>
          <a:xfrm>
            <a:off x="4645027" y="1779662"/>
            <a:ext cx="4041775" cy="2814960"/>
          </a:xfrm>
          <a:prstGeom prst="rect">
            <a:avLst/>
          </a:prstGeom>
        </p:spPr>
        <p:txBody>
          <a:bodyPr/>
          <a:lstStyle>
            <a:lvl1pPr marL="342892" indent="-342892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31" indent="-285743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2972" indent="-228594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160" indent="-228594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348" indent="-228594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JM" dirty="0"/>
          </a:p>
        </p:txBody>
      </p:sp>
      <p:sp>
        <p:nvSpPr>
          <p:cNvPr id="3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5" y="4891581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6" name="Straight Connector 15"/>
          <p:cNvCxnSpPr/>
          <p:nvPr userDrawn="1"/>
        </p:nvCxnSpPr>
        <p:spPr>
          <a:xfrm rot="5400000">
            <a:off x="1135865" y="486757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1464732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41" indent="-268281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8626" y="355847"/>
            <a:ext cx="814799" cy="367413"/>
          </a:xfrm>
          <a:prstGeom prst="rect">
            <a:avLst/>
          </a:prstGeom>
        </p:spPr>
      </p:pic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5" y="4891902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28" name="Footer Placeholder 4"/>
          <p:cNvSpPr txBox="1">
            <a:spLocks/>
          </p:cNvSpPr>
          <p:nvPr userDrawn="1"/>
        </p:nvSpPr>
        <p:spPr>
          <a:xfrm>
            <a:off x="5054597" y="4915386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179345273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1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23" name="Rectangle 2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sp>
        <p:nvSpPr>
          <p:cNvPr id="3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5" y="4891581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 userDrawn="1"/>
        </p:nvGraphicFramePr>
        <p:xfrm>
          <a:off x="1502096" y="963084"/>
          <a:ext cx="7176198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920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920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920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r>
                        <a:rPr lang="en-GB" sz="1400" b="1" i="0" dirty="0">
                          <a:latin typeface="+mj-lt"/>
                        </a:rPr>
                        <a:t>Heading goes he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j-lt"/>
                        </a:rPr>
                        <a:t>Body goes</a:t>
                      </a:r>
                      <a:r>
                        <a:rPr lang="en-GB" sz="1400" baseline="0" dirty="0">
                          <a:latin typeface="+mj-lt"/>
                        </a:rPr>
                        <a:t> here</a:t>
                      </a:r>
                      <a:endParaRPr lang="en-GB" sz="1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en-GB" sz="2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en-GB" sz="2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en-GB" sz="2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en-GB" sz="2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en-GB" sz="2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en-GB" sz="24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cxnSp>
        <p:nvCxnSpPr>
          <p:cNvPr id="12" name="Straight Connector 11"/>
          <p:cNvCxnSpPr/>
          <p:nvPr userDrawn="1"/>
        </p:nvCxnSpPr>
        <p:spPr>
          <a:xfrm rot="5400000">
            <a:off x="1135865" y="486757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1464732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41" indent="-268281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8626" y="355847"/>
            <a:ext cx="814799" cy="367413"/>
          </a:xfrm>
          <a:prstGeom prst="rect">
            <a:avLst/>
          </a:prstGeom>
        </p:spPr>
      </p:pic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5" y="4891902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5054597" y="4915386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285212853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1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23" name="Rectangle 2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sp>
        <p:nvSpPr>
          <p:cNvPr id="22" name="Content Placeholder 13"/>
          <p:cNvSpPr>
            <a:spLocks noGrp="1"/>
          </p:cNvSpPr>
          <p:nvPr>
            <p:ph sz="quarter" idx="13"/>
          </p:nvPr>
        </p:nvSpPr>
        <p:spPr>
          <a:xfrm>
            <a:off x="433136" y="1747866"/>
            <a:ext cx="2482680" cy="2900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13"/>
          <p:cNvSpPr>
            <a:spLocks noGrp="1"/>
          </p:cNvSpPr>
          <p:nvPr>
            <p:ph sz="quarter" idx="14"/>
          </p:nvPr>
        </p:nvSpPr>
        <p:spPr>
          <a:xfrm>
            <a:off x="3312694" y="1739845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13"/>
          <p:cNvSpPr>
            <a:spLocks noGrp="1"/>
          </p:cNvSpPr>
          <p:nvPr>
            <p:ph sz="quarter" idx="15"/>
          </p:nvPr>
        </p:nvSpPr>
        <p:spPr>
          <a:xfrm>
            <a:off x="6216315" y="1747865"/>
            <a:ext cx="2482680" cy="290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43336" y="145098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5517B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322894" y="145098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5517B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226515" y="145098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 baseline="0">
                <a:solidFill>
                  <a:srgbClr val="55517B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5" y="4891581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 rot="5400000">
            <a:off x="1135865" y="486757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1464732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41" indent="-268281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8626" y="355847"/>
            <a:ext cx="814799" cy="367413"/>
          </a:xfrm>
          <a:prstGeom prst="rect">
            <a:avLst/>
          </a:prstGeom>
        </p:spPr>
      </p:pic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5" y="4891902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33" name="Footer Placeholder 4"/>
          <p:cNvSpPr txBox="1">
            <a:spLocks/>
          </p:cNvSpPr>
          <p:nvPr userDrawn="1"/>
        </p:nvSpPr>
        <p:spPr>
          <a:xfrm>
            <a:off x="5054597" y="4915386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372585288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5"/>
          <p:cNvSpPr>
            <a:spLocks noGrp="1"/>
          </p:cNvSpPr>
          <p:nvPr>
            <p:ph sz="quarter" idx="11"/>
          </p:nvPr>
        </p:nvSpPr>
        <p:spPr>
          <a:xfrm>
            <a:off x="5308271" y="945598"/>
            <a:ext cx="3386997" cy="3699272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77" indent="-265106">
              <a:spcBef>
                <a:spcPts val="600"/>
              </a:spcBef>
              <a:spcAft>
                <a:spcPts val="600"/>
              </a:spcAft>
              <a:tabLst>
                <a:tab pos="542912" algn="l"/>
              </a:tabLst>
              <a:defRPr sz="1400"/>
            </a:lvl1pPr>
            <a:lvl2pPr marL="808018" indent="-265106">
              <a:spcBef>
                <a:spcPts val="600"/>
              </a:spcBef>
              <a:spcAft>
                <a:spcPts val="600"/>
              </a:spcAft>
              <a:defRPr sz="1200"/>
            </a:lvl2pPr>
            <a:lvl3pPr marL="1169959" indent="-276218">
              <a:spcBef>
                <a:spcPts val="600"/>
              </a:spcBef>
              <a:spcAft>
                <a:spcPts val="600"/>
              </a:spcAft>
              <a:defRPr sz="1100"/>
            </a:lvl3pPr>
            <a:lvl4pPr marL="1520787" indent="-266693">
              <a:spcBef>
                <a:spcPts val="600"/>
              </a:spcBef>
              <a:spcAft>
                <a:spcPts val="600"/>
              </a:spcAft>
              <a:defRPr sz="1050"/>
            </a:lvl4pPr>
            <a:lvl5pPr marL="1881141" indent="-265106">
              <a:spcBef>
                <a:spcPts val="600"/>
              </a:spcBef>
              <a:spcAft>
                <a:spcPts val="60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Content Placeholder 5"/>
          <p:cNvSpPr>
            <a:spLocks noGrp="1"/>
          </p:cNvSpPr>
          <p:nvPr>
            <p:ph sz="quarter" idx="12"/>
          </p:nvPr>
        </p:nvSpPr>
        <p:spPr>
          <a:xfrm>
            <a:off x="440267" y="948634"/>
            <a:ext cx="4701749" cy="3699272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355591" indent="-273044">
              <a:spcBef>
                <a:spcPts val="600"/>
              </a:spcBef>
              <a:spcAft>
                <a:spcPts val="600"/>
              </a:spcAft>
              <a:tabLst>
                <a:tab pos="542912" algn="l"/>
              </a:tabLst>
              <a:defRPr sz="1400"/>
            </a:lvl1pPr>
            <a:lvl2pPr marL="712770" indent="-261932">
              <a:spcBef>
                <a:spcPts val="600"/>
              </a:spcBef>
              <a:spcAft>
                <a:spcPts val="600"/>
              </a:spcAft>
              <a:defRPr sz="1200"/>
            </a:lvl2pPr>
            <a:lvl3pPr marL="1081061" indent="-273044">
              <a:spcBef>
                <a:spcPts val="600"/>
              </a:spcBef>
              <a:spcAft>
                <a:spcPts val="600"/>
              </a:spcAft>
              <a:defRPr sz="1100"/>
            </a:lvl3pPr>
            <a:lvl4pPr marL="1436652" indent="-273044">
              <a:spcBef>
                <a:spcPts val="600"/>
              </a:spcBef>
              <a:spcAft>
                <a:spcPts val="600"/>
              </a:spcAft>
              <a:defRPr sz="1050"/>
            </a:lvl4pPr>
            <a:lvl5pPr marL="1793831" indent="-273044">
              <a:spcBef>
                <a:spcPts val="600"/>
              </a:spcBef>
              <a:spcAft>
                <a:spcPts val="60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21" name="Group 21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22" name="Rectangle 21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sp>
        <p:nvSpPr>
          <p:cNvPr id="2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5" y="4891581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 rot="5400000">
            <a:off x="1135865" y="486757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464732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41" indent="-268281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8626" y="355847"/>
            <a:ext cx="814799" cy="367413"/>
          </a:xfrm>
          <a:prstGeom prst="rect">
            <a:avLst/>
          </a:prstGeom>
        </p:spPr>
      </p:pic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5" y="4891902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5054597" y="4915386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108750269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5"/>
          <p:cNvSpPr>
            <a:spLocks noGrp="1"/>
          </p:cNvSpPr>
          <p:nvPr>
            <p:ph sz="quarter" idx="11"/>
          </p:nvPr>
        </p:nvSpPr>
        <p:spPr>
          <a:xfrm>
            <a:off x="4778773" y="1013335"/>
            <a:ext cx="3916495" cy="361489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77" indent="-265106">
              <a:spcBef>
                <a:spcPts val="600"/>
              </a:spcBef>
              <a:spcAft>
                <a:spcPts val="600"/>
              </a:spcAft>
              <a:tabLst>
                <a:tab pos="542912" algn="l"/>
              </a:tabLst>
              <a:defRPr sz="1400"/>
            </a:lvl1pPr>
            <a:lvl2pPr marL="808018" indent="-265106">
              <a:spcBef>
                <a:spcPts val="600"/>
              </a:spcBef>
              <a:spcAft>
                <a:spcPts val="600"/>
              </a:spcAft>
              <a:defRPr sz="1200"/>
            </a:lvl2pPr>
            <a:lvl3pPr marL="1169959" indent="-276218">
              <a:spcBef>
                <a:spcPts val="600"/>
              </a:spcBef>
              <a:spcAft>
                <a:spcPts val="600"/>
              </a:spcAft>
              <a:defRPr sz="1100"/>
            </a:lvl3pPr>
            <a:lvl4pPr marL="1520787" indent="-266693">
              <a:spcBef>
                <a:spcPts val="600"/>
              </a:spcBef>
              <a:spcAft>
                <a:spcPts val="600"/>
              </a:spcAft>
              <a:defRPr sz="1050"/>
            </a:lvl4pPr>
            <a:lvl5pPr marL="1881141" indent="-265106">
              <a:spcBef>
                <a:spcPts val="600"/>
              </a:spcBef>
              <a:spcAft>
                <a:spcPts val="60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5"/>
          <p:cNvSpPr>
            <a:spLocks noGrp="1"/>
          </p:cNvSpPr>
          <p:nvPr>
            <p:ph sz="quarter" idx="12"/>
          </p:nvPr>
        </p:nvSpPr>
        <p:spPr>
          <a:xfrm>
            <a:off x="457198" y="1016371"/>
            <a:ext cx="3977467" cy="361489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355591" indent="-273044">
              <a:spcBef>
                <a:spcPts val="600"/>
              </a:spcBef>
              <a:spcAft>
                <a:spcPts val="600"/>
              </a:spcAft>
              <a:tabLst>
                <a:tab pos="542912" algn="l"/>
              </a:tabLst>
              <a:defRPr sz="1400"/>
            </a:lvl1pPr>
            <a:lvl2pPr marL="712770" indent="-261932">
              <a:spcBef>
                <a:spcPts val="600"/>
              </a:spcBef>
              <a:spcAft>
                <a:spcPts val="600"/>
              </a:spcAft>
              <a:defRPr sz="1200"/>
            </a:lvl2pPr>
            <a:lvl3pPr marL="1081061" indent="-273044">
              <a:spcBef>
                <a:spcPts val="600"/>
              </a:spcBef>
              <a:spcAft>
                <a:spcPts val="600"/>
              </a:spcAft>
              <a:defRPr sz="1100"/>
            </a:lvl3pPr>
            <a:lvl4pPr marL="1436652" indent="-273044">
              <a:spcBef>
                <a:spcPts val="600"/>
              </a:spcBef>
              <a:spcAft>
                <a:spcPts val="600"/>
              </a:spcAft>
              <a:defRPr sz="1050"/>
            </a:lvl4pPr>
            <a:lvl5pPr marL="1793831" indent="-273044">
              <a:spcBef>
                <a:spcPts val="600"/>
              </a:spcBef>
              <a:spcAft>
                <a:spcPts val="60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2462" y="136241"/>
            <a:ext cx="1209001" cy="545170"/>
          </a:xfrm>
          <a:prstGeom prst="rect">
            <a:avLst/>
          </a:prstGeom>
        </p:spPr>
      </p:pic>
      <p:grpSp>
        <p:nvGrpSpPr>
          <p:cNvPr id="21" name="Group 21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22" name="Rectangle 21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sp>
        <p:nvSpPr>
          <p:cNvPr id="2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5" y="4891581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4" name="Straight Connector 13"/>
          <p:cNvCxnSpPr/>
          <p:nvPr userDrawn="1"/>
        </p:nvCxnSpPr>
        <p:spPr>
          <a:xfrm rot="5400000">
            <a:off x="1135865" y="486757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464732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41" indent="-268281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8626" y="355847"/>
            <a:ext cx="814799" cy="367413"/>
          </a:xfrm>
          <a:prstGeom prst="rect">
            <a:avLst/>
          </a:prstGeom>
        </p:spPr>
      </p:pic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5" y="4891902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25" name="Footer Placeholder 4"/>
          <p:cNvSpPr txBox="1">
            <a:spLocks/>
          </p:cNvSpPr>
          <p:nvPr userDrawn="1"/>
        </p:nvSpPr>
        <p:spPr>
          <a:xfrm>
            <a:off x="5054597" y="4915386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404979673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5"/>
          <p:cNvSpPr>
            <a:spLocks noGrp="1"/>
          </p:cNvSpPr>
          <p:nvPr>
            <p:ph sz="quarter" idx="11"/>
          </p:nvPr>
        </p:nvSpPr>
        <p:spPr>
          <a:xfrm>
            <a:off x="5155564" y="1021310"/>
            <a:ext cx="3522770" cy="1721891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77" indent="-265106">
              <a:spcBef>
                <a:spcPts val="600"/>
              </a:spcBef>
              <a:spcAft>
                <a:spcPts val="600"/>
              </a:spcAft>
              <a:tabLst>
                <a:tab pos="542912" algn="l"/>
              </a:tabLst>
              <a:defRPr sz="1200"/>
            </a:lvl1pPr>
            <a:lvl2pPr marL="808018" indent="-265106">
              <a:spcBef>
                <a:spcPts val="600"/>
              </a:spcBef>
              <a:spcAft>
                <a:spcPts val="600"/>
              </a:spcAft>
              <a:defRPr sz="1100"/>
            </a:lvl2pPr>
            <a:lvl3pPr marL="1169959" indent="-276218">
              <a:spcBef>
                <a:spcPts val="600"/>
              </a:spcBef>
              <a:spcAft>
                <a:spcPts val="600"/>
              </a:spcAft>
              <a:defRPr sz="1050"/>
            </a:lvl3pPr>
            <a:lvl4pPr marL="1520787" indent="-266693">
              <a:spcBef>
                <a:spcPts val="600"/>
              </a:spcBef>
              <a:spcAft>
                <a:spcPts val="600"/>
              </a:spcAft>
              <a:defRPr sz="1000"/>
            </a:lvl4pPr>
            <a:lvl5pPr marL="1881141" indent="-265106">
              <a:spcBef>
                <a:spcPts val="600"/>
              </a:spcBef>
              <a:spcAft>
                <a:spcPts val="600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Content Placeholder 5"/>
          <p:cNvSpPr>
            <a:spLocks noGrp="1"/>
          </p:cNvSpPr>
          <p:nvPr>
            <p:ph sz="quarter" idx="13"/>
          </p:nvPr>
        </p:nvSpPr>
        <p:spPr>
          <a:xfrm>
            <a:off x="431800" y="1016371"/>
            <a:ext cx="4496460" cy="3581030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355591" indent="-273044">
              <a:spcBef>
                <a:spcPts val="600"/>
              </a:spcBef>
              <a:spcAft>
                <a:spcPts val="600"/>
              </a:spcAft>
              <a:tabLst>
                <a:tab pos="542912" algn="l"/>
              </a:tabLst>
              <a:defRPr sz="1400"/>
            </a:lvl1pPr>
            <a:lvl2pPr marL="712770" indent="-261932">
              <a:spcBef>
                <a:spcPts val="600"/>
              </a:spcBef>
              <a:spcAft>
                <a:spcPts val="600"/>
              </a:spcAft>
              <a:defRPr sz="1200"/>
            </a:lvl2pPr>
            <a:lvl3pPr marL="1081061" indent="-273044">
              <a:spcBef>
                <a:spcPts val="600"/>
              </a:spcBef>
              <a:spcAft>
                <a:spcPts val="600"/>
              </a:spcAft>
              <a:defRPr sz="1100"/>
            </a:lvl3pPr>
            <a:lvl4pPr marL="1436652" indent="-273044">
              <a:spcBef>
                <a:spcPts val="600"/>
              </a:spcBef>
              <a:spcAft>
                <a:spcPts val="600"/>
              </a:spcAft>
              <a:defRPr sz="1050"/>
            </a:lvl4pPr>
            <a:lvl5pPr marL="1793831" indent="-273044">
              <a:spcBef>
                <a:spcPts val="600"/>
              </a:spcBef>
              <a:spcAft>
                <a:spcPts val="60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2462" y="136241"/>
            <a:ext cx="1209001" cy="545170"/>
          </a:xfrm>
          <a:prstGeom prst="rect">
            <a:avLst/>
          </a:prstGeom>
        </p:spPr>
      </p:pic>
      <p:grpSp>
        <p:nvGrpSpPr>
          <p:cNvPr id="22" name="Group 21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24" name="Rectangle 23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sp>
        <p:nvSpPr>
          <p:cNvPr id="30" name="Content Placeholder 5"/>
          <p:cNvSpPr>
            <a:spLocks noGrp="1"/>
          </p:cNvSpPr>
          <p:nvPr>
            <p:ph sz="quarter" idx="14"/>
          </p:nvPr>
        </p:nvSpPr>
        <p:spPr>
          <a:xfrm>
            <a:off x="5164024" y="2858643"/>
            <a:ext cx="3522770" cy="1721891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77" indent="-265106">
              <a:spcBef>
                <a:spcPts val="600"/>
              </a:spcBef>
              <a:spcAft>
                <a:spcPts val="600"/>
              </a:spcAft>
              <a:tabLst>
                <a:tab pos="542912" algn="l"/>
              </a:tabLst>
              <a:defRPr sz="1200"/>
            </a:lvl1pPr>
            <a:lvl2pPr marL="808018" indent="-265106">
              <a:spcBef>
                <a:spcPts val="600"/>
              </a:spcBef>
              <a:spcAft>
                <a:spcPts val="600"/>
              </a:spcAft>
              <a:defRPr sz="1100"/>
            </a:lvl2pPr>
            <a:lvl3pPr marL="1169959" indent="-276218">
              <a:spcBef>
                <a:spcPts val="600"/>
              </a:spcBef>
              <a:spcAft>
                <a:spcPts val="600"/>
              </a:spcAft>
              <a:defRPr sz="1050"/>
            </a:lvl3pPr>
            <a:lvl4pPr marL="1520787" indent="-266693">
              <a:spcBef>
                <a:spcPts val="600"/>
              </a:spcBef>
              <a:spcAft>
                <a:spcPts val="600"/>
              </a:spcAft>
              <a:defRPr sz="1000"/>
            </a:lvl4pPr>
            <a:lvl5pPr marL="1881141" indent="-265106">
              <a:spcBef>
                <a:spcPts val="600"/>
              </a:spcBef>
              <a:spcAft>
                <a:spcPts val="600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5" y="4891581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 rot="5400000">
            <a:off x="1135865" y="486757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464732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41" indent="-268281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8626" y="355847"/>
            <a:ext cx="814799" cy="367413"/>
          </a:xfrm>
          <a:prstGeom prst="rect">
            <a:avLst/>
          </a:prstGeom>
        </p:spPr>
      </p:pic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5" y="4891902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5054597" y="4915386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30464268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5"/>
          <p:cNvSpPr>
            <a:spLocks noGrp="1"/>
          </p:cNvSpPr>
          <p:nvPr>
            <p:ph sz="quarter" idx="12"/>
          </p:nvPr>
        </p:nvSpPr>
        <p:spPr>
          <a:xfrm>
            <a:off x="5082179" y="3297052"/>
            <a:ext cx="3596155" cy="1325749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77" indent="-265106">
              <a:spcBef>
                <a:spcPts val="600"/>
              </a:spcBef>
              <a:spcAft>
                <a:spcPts val="600"/>
              </a:spcAft>
              <a:tabLst>
                <a:tab pos="542912" algn="l"/>
              </a:tabLst>
              <a:defRPr sz="1100"/>
            </a:lvl1pPr>
            <a:lvl2pPr marL="808018" indent="-265106">
              <a:spcBef>
                <a:spcPts val="600"/>
              </a:spcBef>
              <a:spcAft>
                <a:spcPts val="600"/>
              </a:spcAft>
              <a:defRPr sz="1050"/>
            </a:lvl2pPr>
            <a:lvl3pPr marL="1169959" indent="-276218">
              <a:spcBef>
                <a:spcPts val="600"/>
              </a:spcBef>
              <a:spcAft>
                <a:spcPts val="600"/>
              </a:spcAft>
              <a:defRPr sz="1000"/>
            </a:lvl3pPr>
            <a:lvl4pPr marL="1520787" indent="-266693">
              <a:spcBef>
                <a:spcPts val="600"/>
              </a:spcBef>
              <a:spcAft>
                <a:spcPts val="600"/>
              </a:spcAft>
              <a:defRPr sz="900"/>
            </a:lvl4pPr>
            <a:lvl5pPr marL="1881141" indent="-265106">
              <a:spcBef>
                <a:spcPts val="600"/>
              </a:spcBef>
              <a:spcAft>
                <a:spcPts val="600"/>
              </a:spcAft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082765" y="1026209"/>
            <a:ext cx="3601153" cy="286815"/>
          </a:xfrm>
          <a:prstGeom prst="rect">
            <a:avLst/>
          </a:prstGeom>
          <a:noFill/>
        </p:spPr>
        <p:txBody>
          <a:bodyPr anchor="ctr"/>
          <a:lstStyle>
            <a:lvl1pPr marL="177796" indent="0">
              <a:buNone/>
              <a:defRPr sz="1200" b="1">
                <a:solidFill>
                  <a:schemeClr val="accent1"/>
                </a:solidFill>
              </a:defRPr>
            </a:lvl1pPr>
            <a:lvl2pPr marL="712770" indent="0">
              <a:buNone/>
              <a:defRPr/>
            </a:lvl2pPr>
            <a:lvl3pPr marL="1073123" indent="0">
              <a:buNone/>
              <a:defRPr/>
            </a:lvl3pPr>
            <a:lvl4pPr marL="1435064" indent="0">
              <a:buNone/>
              <a:defRPr/>
            </a:lvl4pPr>
            <a:lvl5pPr marL="1797005" indent="0">
              <a:buNone/>
              <a:defRPr/>
            </a:lvl5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082765" y="2942728"/>
            <a:ext cx="3601153" cy="286815"/>
          </a:xfrm>
          <a:prstGeom prst="rect">
            <a:avLst/>
          </a:prstGeom>
          <a:noFill/>
        </p:spPr>
        <p:txBody>
          <a:bodyPr anchor="ctr"/>
          <a:lstStyle>
            <a:lvl1pPr marL="177796" indent="0">
              <a:buNone/>
              <a:defRPr sz="1200" b="1">
                <a:solidFill>
                  <a:schemeClr val="accent1"/>
                </a:solidFill>
              </a:defRPr>
            </a:lvl1pPr>
            <a:lvl2pPr marL="712770" indent="0">
              <a:buNone/>
              <a:defRPr/>
            </a:lvl2pPr>
            <a:lvl3pPr marL="1073123" indent="0">
              <a:buNone/>
              <a:defRPr/>
            </a:lvl3pPr>
            <a:lvl4pPr marL="1435064" indent="0">
              <a:buNone/>
              <a:defRPr/>
            </a:lvl4pPr>
            <a:lvl5pPr marL="1797005" indent="0">
              <a:buNone/>
              <a:defRPr/>
            </a:lvl5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29" name="Content Placeholder 5"/>
          <p:cNvSpPr>
            <a:spLocks noGrp="1"/>
          </p:cNvSpPr>
          <p:nvPr>
            <p:ph sz="quarter" idx="16"/>
          </p:nvPr>
        </p:nvSpPr>
        <p:spPr>
          <a:xfrm>
            <a:off x="482600" y="1037802"/>
            <a:ext cx="4433784" cy="3584998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355591" indent="-273044">
              <a:spcBef>
                <a:spcPts val="600"/>
              </a:spcBef>
              <a:spcAft>
                <a:spcPts val="600"/>
              </a:spcAft>
              <a:tabLst>
                <a:tab pos="542912" algn="l"/>
              </a:tabLst>
              <a:defRPr sz="1400"/>
            </a:lvl1pPr>
            <a:lvl2pPr marL="712770" indent="-261932">
              <a:spcBef>
                <a:spcPts val="600"/>
              </a:spcBef>
              <a:spcAft>
                <a:spcPts val="600"/>
              </a:spcAft>
              <a:defRPr sz="1200"/>
            </a:lvl2pPr>
            <a:lvl3pPr marL="1081061" indent="-273044">
              <a:spcBef>
                <a:spcPts val="600"/>
              </a:spcBef>
              <a:spcAft>
                <a:spcPts val="600"/>
              </a:spcAft>
              <a:defRPr sz="1100"/>
            </a:lvl3pPr>
            <a:lvl4pPr marL="1436652" indent="-273044">
              <a:spcBef>
                <a:spcPts val="600"/>
              </a:spcBef>
              <a:spcAft>
                <a:spcPts val="600"/>
              </a:spcAft>
              <a:defRPr sz="1050"/>
            </a:lvl4pPr>
            <a:lvl5pPr marL="1793831" indent="-273044">
              <a:spcBef>
                <a:spcPts val="600"/>
              </a:spcBef>
              <a:spcAft>
                <a:spcPts val="600"/>
              </a:spcAft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2462" y="136241"/>
            <a:ext cx="1209001" cy="545170"/>
          </a:xfrm>
          <a:prstGeom prst="rect">
            <a:avLst/>
          </a:prstGeom>
        </p:spPr>
      </p:pic>
      <p:grpSp>
        <p:nvGrpSpPr>
          <p:cNvPr id="22" name="Group 21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24" name="Rectangle 23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sp>
        <p:nvSpPr>
          <p:cNvPr id="3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5" y="4891581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Content Placeholder 5"/>
          <p:cNvSpPr>
            <a:spLocks noGrp="1"/>
          </p:cNvSpPr>
          <p:nvPr>
            <p:ph sz="quarter" idx="17"/>
          </p:nvPr>
        </p:nvSpPr>
        <p:spPr>
          <a:xfrm>
            <a:off x="5090640" y="1400438"/>
            <a:ext cx="3596155" cy="1325749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77" indent="-265106">
              <a:spcBef>
                <a:spcPts val="600"/>
              </a:spcBef>
              <a:spcAft>
                <a:spcPts val="600"/>
              </a:spcAft>
              <a:tabLst>
                <a:tab pos="542912" algn="l"/>
              </a:tabLst>
              <a:defRPr sz="1100"/>
            </a:lvl1pPr>
            <a:lvl2pPr marL="808018" indent="-265106">
              <a:spcBef>
                <a:spcPts val="600"/>
              </a:spcBef>
              <a:spcAft>
                <a:spcPts val="600"/>
              </a:spcAft>
              <a:defRPr sz="1050"/>
            </a:lvl2pPr>
            <a:lvl3pPr marL="1169959" indent="-276218">
              <a:spcBef>
                <a:spcPts val="600"/>
              </a:spcBef>
              <a:spcAft>
                <a:spcPts val="600"/>
              </a:spcAft>
              <a:defRPr sz="1000"/>
            </a:lvl3pPr>
            <a:lvl4pPr marL="1520787" indent="-266693">
              <a:spcBef>
                <a:spcPts val="600"/>
              </a:spcBef>
              <a:spcAft>
                <a:spcPts val="600"/>
              </a:spcAft>
              <a:defRPr sz="900"/>
            </a:lvl4pPr>
            <a:lvl5pPr marL="1881141" indent="-265106">
              <a:spcBef>
                <a:spcPts val="600"/>
              </a:spcBef>
              <a:spcAft>
                <a:spcPts val="600"/>
              </a:spcAft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 rot="5400000">
            <a:off x="1135865" y="486757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1464732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41" indent="-268281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8626" y="355847"/>
            <a:ext cx="814799" cy="367413"/>
          </a:xfrm>
          <a:prstGeom prst="rect">
            <a:avLst/>
          </a:prstGeom>
        </p:spPr>
      </p:pic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5" y="4891902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23" name="Footer Placeholder 4"/>
          <p:cNvSpPr txBox="1">
            <a:spLocks/>
          </p:cNvSpPr>
          <p:nvPr userDrawn="1"/>
        </p:nvSpPr>
        <p:spPr>
          <a:xfrm>
            <a:off x="5054597" y="4915386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18331218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53250"/>
            <a:ext cx="4572000" cy="3890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4572000" y="1253250"/>
            <a:ext cx="4572000" cy="3890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4129585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ontent Placeholder 5"/>
          <p:cNvSpPr>
            <a:spLocks noGrp="1"/>
          </p:cNvSpPr>
          <p:nvPr>
            <p:ph sz="quarter" idx="11"/>
          </p:nvPr>
        </p:nvSpPr>
        <p:spPr>
          <a:xfrm>
            <a:off x="5155563" y="1314732"/>
            <a:ext cx="3552169" cy="1360736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77" indent="-265106">
              <a:spcBef>
                <a:spcPts val="600"/>
              </a:spcBef>
              <a:spcAft>
                <a:spcPts val="600"/>
              </a:spcAft>
              <a:tabLst>
                <a:tab pos="542912" algn="l"/>
              </a:tabLst>
              <a:defRPr sz="1100"/>
            </a:lvl1pPr>
            <a:lvl2pPr marL="808018" indent="-265106">
              <a:spcBef>
                <a:spcPts val="600"/>
              </a:spcBef>
              <a:spcAft>
                <a:spcPts val="600"/>
              </a:spcAft>
              <a:defRPr sz="1050"/>
            </a:lvl2pPr>
            <a:lvl3pPr marL="1169959" indent="-276218">
              <a:spcBef>
                <a:spcPts val="600"/>
              </a:spcBef>
              <a:spcAft>
                <a:spcPts val="600"/>
              </a:spcAft>
              <a:defRPr sz="1000"/>
            </a:lvl3pPr>
            <a:lvl4pPr marL="1520787" indent="-266693">
              <a:spcBef>
                <a:spcPts val="600"/>
              </a:spcBef>
              <a:spcAft>
                <a:spcPts val="600"/>
              </a:spcAft>
              <a:defRPr sz="900"/>
            </a:lvl4pPr>
            <a:lvl5pPr marL="1881141" indent="-265106">
              <a:spcBef>
                <a:spcPts val="600"/>
              </a:spcBef>
              <a:spcAft>
                <a:spcPts val="600"/>
              </a:spcAft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Content Placeholder 5"/>
          <p:cNvSpPr>
            <a:spLocks noGrp="1"/>
          </p:cNvSpPr>
          <p:nvPr>
            <p:ph sz="quarter" idx="12"/>
          </p:nvPr>
        </p:nvSpPr>
        <p:spPr>
          <a:xfrm>
            <a:off x="5143098" y="3263285"/>
            <a:ext cx="3552169" cy="1393384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77" indent="-265106">
              <a:spcBef>
                <a:spcPts val="600"/>
              </a:spcBef>
              <a:spcAft>
                <a:spcPts val="600"/>
              </a:spcAft>
              <a:tabLst>
                <a:tab pos="542912" algn="l"/>
              </a:tabLst>
              <a:defRPr sz="1100"/>
            </a:lvl1pPr>
            <a:lvl2pPr marL="808018" indent="-265106">
              <a:spcBef>
                <a:spcPts val="600"/>
              </a:spcBef>
              <a:spcAft>
                <a:spcPts val="600"/>
              </a:spcAft>
              <a:defRPr sz="1050"/>
            </a:lvl2pPr>
            <a:lvl3pPr marL="1169959" indent="-276218">
              <a:spcBef>
                <a:spcPts val="600"/>
              </a:spcBef>
              <a:spcAft>
                <a:spcPts val="600"/>
              </a:spcAft>
              <a:defRPr sz="1000"/>
            </a:lvl3pPr>
            <a:lvl4pPr marL="1520787" indent="-266693">
              <a:spcBef>
                <a:spcPts val="600"/>
              </a:spcBef>
              <a:spcAft>
                <a:spcPts val="600"/>
              </a:spcAft>
              <a:defRPr sz="900"/>
            </a:lvl4pPr>
            <a:lvl5pPr marL="1881141" indent="-265106">
              <a:spcBef>
                <a:spcPts val="600"/>
              </a:spcBef>
              <a:spcAft>
                <a:spcPts val="600"/>
              </a:spcAft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2" name="Content Placeholder 5"/>
          <p:cNvSpPr>
            <a:spLocks noGrp="1"/>
          </p:cNvSpPr>
          <p:nvPr>
            <p:ph sz="quarter" idx="16"/>
          </p:nvPr>
        </p:nvSpPr>
        <p:spPr>
          <a:xfrm>
            <a:off x="440097" y="1313251"/>
            <a:ext cx="4464416" cy="136221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355591" indent="-273044">
              <a:spcBef>
                <a:spcPts val="600"/>
              </a:spcBef>
              <a:spcAft>
                <a:spcPts val="600"/>
              </a:spcAft>
              <a:tabLst>
                <a:tab pos="542912" algn="l"/>
              </a:tabLst>
              <a:defRPr sz="1100"/>
            </a:lvl1pPr>
            <a:lvl2pPr marL="808018" indent="-357179">
              <a:spcBef>
                <a:spcPts val="600"/>
              </a:spcBef>
              <a:spcAft>
                <a:spcPts val="600"/>
              </a:spcAft>
              <a:defRPr sz="1050"/>
            </a:lvl2pPr>
            <a:lvl3pPr marL="1169959" indent="-361941">
              <a:spcBef>
                <a:spcPts val="600"/>
              </a:spcBef>
              <a:spcAft>
                <a:spcPts val="600"/>
              </a:spcAft>
              <a:defRPr sz="1000"/>
            </a:lvl3pPr>
            <a:lvl4pPr marL="1520787" indent="-357179">
              <a:spcBef>
                <a:spcPts val="600"/>
              </a:spcBef>
              <a:spcAft>
                <a:spcPts val="600"/>
              </a:spcAft>
              <a:defRPr sz="900"/>
            </a:lvl4pPr>
            <a:lvl5pPr marL="1881141" indent="-360354">
              <a:spcBef>
                <a:spcPts val="600"/>
              </a:spcBef>
              <a:spcAft>
                <a:spcPts val="600"/>
              </a:spcAft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2171" y="1026584"/>
            <a:ext cx="2899632" cy="234707"/>
          </a:xfrm>
          <a:prstGeom prst="rect">
            <a:avLst/>
          </a:prstGeom>
          <a:noFill/>
        </p:spPr>
        <p:txBody>
          <a:bodyPr anchor="ctr"/>
          <a:lstStyle>
            <a:lvl1pPr marL="82548" indent="0">
              <a:buNone/>
              <a:defRPr sz="1200" b="1">
                <a:solidFill>
                  <a:schemeClr val="accent1"/>
                </a:solidFill>
              </a:defRPr>
            </a:lvl1pPr>
            <a:lvl2pPr marL="712770" indent="0">
              <a:buNone/>
              <a:defRPr/>
            </a:lvl2pPr>
            <a:lvl3pPr marL="1073123" indent="0">
              <a:buNone/>
              <a:defRPr/>
            </a:lvl3pPr>
            <a:lvl4pPr marL="1435064" indent="0">
              <a:buNone/>
              <a:defRPr/>
            </a:lvl4pPr>
            <a:lvl5pPr marL="1797005" indent="0">
              <a:buNone/>
              <a:defRPr/>
            </a:lvl5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sp>
        <p:nvSpPr>
          <p:cNvPr id="34" name="Content Placeholder 5"/>
          <p:cNvSpPr>
            <a:spLocks noGrp="1"/>
          </p:cNvSpPr>
          <p:nvPr>
            <p:ph sz="quarter" idx="19"/>
          </p:nvPr>
        </p:nvSpPr>
        <p:spPr>
          <a:xfrm>
            <a:off x="440268" y="3262241"/>
            <a:ext cx="4464416" cy="139442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355591" indent="-273044">
              <a:spcBef>
                <a:spcPts val="600"/>
              </a:spcBef>
              <a:spcAft>
                <a:spcPts val="600"/>
              </a:spcAft>
              <a:tabLst>
                <a:tab pos="542912" algn="l"/>
              </a:tabLst>
              <a:defRPr sz="1100"/>
            </a:lvl1pPr>
            <a:lvl2pPr marL="808018" indent="-357179">
              <a:spcBef>
                <a:spcPts val="600"/>
              </a:spcBef>
              <a:spcAft>
                <a:spcPts val="600"/>
              </a:spcAft>
              <a:defRPr sz="1050"/>
            </a:lvl2pPr>
            <a:lvl3pPr marL="1169959" indent="-361941">
              <a:spcBef>
                <a:spcPts val="600"/>
              </a:spcBef>
              <a:spcAft>
                <a:spcPts val="600"/>
              </a:spcAft>
              <a:defRPr sz="1000"/>
            </a:lvl3pPr>
            <a:lvl4pPr marL="1520787" indent="-357179">
              <a:spcBef>
                <a:spcPts val="600"/>
              </a:spcBef>
              <a:spcAft>
                <a:spcPts val="600"/>
              </a:spcAft>
              <a:defRPr sz="900"/>
            </a:lvl4pPr>
            <a:lvl5pPr marL="1881141" indent="-360354">
              <a:spcBef>
                <a:spcPts val="600"/>
              </a:spcBef>
              <a:spcAft>
                <a:spcPts val="600"/>
              </a:spcAft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32343" y="2975574"/>
            <a:ext cx="2899632" cy="234707"/>
          </a:xfrm>
          <a:prstGeom prst="rect">
            <a:avLst/>
          </a:prstGeom>
          <a:noFill/>
        </p:spPr>
        <p:txBody>
          <a:bodyPr anchor="ctr"/>
          <a:lstStyle>
            <a:lvl1pPr marL="82548" indent="0">
              <a:buNone/>
              <a:defRPr sz="1200" b="1">
                <a:solidFill>
                  <a:schemeClr val="accent1"/>
                </a:solidFill>
              </a:defRPr>
            </a:lvl1pPr>
            <a:lvl2pPr marL="712770" indent="0">
              <a:buNone/>
              <a:defRPr/>
            </a:lvl2pPr>
            <a:lvl3pPr marL="1073123" indent="0">
              <a:buNone/>
              <a:defRPr/>
            </a:lvl3pPr>
            <a:lvl4pPr marL="1435064" indent="0">
              <a:buNone/>
              <a:defRPr/>
            </a:lvl4pPr>
            <a:lvl5pPr marL="1797005" indent="0">
              <a:buNone/>
              <a:defRPr/>
            </a:lvl5pPr>
          </a:lstStyle>
          <a:p>
            <a:pPr lvl="0"/>
            <a:r>
              <a:rPr lang="en-US" dirty="0"/>
              <a:t>Sub-heading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27" name="Rectangle 26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sp>
        <p:nvSpPr>
          <p:cNvPr id="3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5" y="4891581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 rot="5400000">
            <a:off x="1135865" y="486757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1464732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41" indent="-268281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8626" y="355847"/>
            <a:ext cx="814799" cy="367413"/>
          </a:xfrm>
          <a:prstGeom prst="rect">
            <a:avLst/>
          </a:prstGeom>
        </p:spPr>
      </p:pic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5" y="4891902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5054597" y="4915386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177531830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Content Placeholder 3"/>
          <p:cNvSpPr>
            <a:spLocks noGrp="1"/>
          </p:cNvSpPr>
          <p:nvPr>
            <p:ph sz="quarter" idx="10"/>
          </p:nvPr>
        </p:nvSpPr>
        <p:spPr>
          <a:xfrm>
            <a:off x="408339" y="994580"/>
            <a:ext cx="3973950" cy="1697821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50839" indent="-368291">
              <a:spcBef>
                <a:spcPts val="600"/>
              </a:spcBef>
              <a:spcAft>
                <a:spcPts val="600"/>
              </a:spcAft>
              <a:defRPr sz="1200"/>
            </a:lvl1pPr>
            <a:lvl2pPr marL="808018" indent="-273044">
              <a:spcBef>
                <a:spcPts val="600"/>
              </a:spcBef>
              <a:spcAft>
                <a:spcPts val="600"/>
              </a:spcAft>
              <a:defRPr sz="1100"/>
            </a:lvl2pPr>
            <a:lvl3pPr marL="1163609" indent="-260344">
              <a:spcBef>
                <a:spcPts val="600"/>
              </a:spcBef>
              <a:spcAft>
                <a:spcPts val="600"/>
              </a:spcAft>
              <a:defRPr sz="1050"/>
            </a:lvl3pPr>
            <a:lvl4pPr marL="1520787" indent="-261932">
              <a:spcBef>
                <a:spcPts val="600"/>
              </a:spcBef>
              <a:spcAft>
                <a:spcPts val="600"/>
              </a:spcAft>
              <a:defRPr sz="1000"/>
            </a:lvl4pPr>
            <a:lvl5pPr marL="1887491" indent="-273044">
              <a:spcBef>
                <a:spcPts val="600"/>
              </a:spcBef>
              <a:spcAft>
                <a:spcPts val="600"/>
              </a:spcAft>
              <a:tabLst>
                <a:tab pos="1971626" algn="l"/>
              </a:tabLs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Content Placeholder 5"/>
          <p:cNvSpPr>
            <a:spLocks noGrp="1"/>
          </p:cNvSpPr>
          <p:nvPr>
            <p:ph sz="quarter" idx="11"/>
          </p:nvPr>
        </p:nvSpPr>
        <p:spPr>
          <a:xfrm>
            <a:off x="4697283" y="1003498"/>
            <a:ext cx="3973175" cy="1688903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77" indent="-265106">
              <a:spcBef>
                <a:spcPts val="600"/>
              </a:spcBef>
              <a:spcAft>
                <a:spcPts val="600"/>
              </a:spcAft>
              <a:tabLst>
                <a:tab pos="542912" algn="l"/>
              </a:tabLst>
              <a:defRPr sz="1200"/>
            </a:lvl1pPr>
            <a:lvl2pPr marL="808018" indent="-265106">
              <a:spcBef>
                <a:spcPts val="600"/>
              </a:spcBef>
              <a:spcAft>
                <a:spcPts val="600"/>
              </a:spcAft>
              <a:defRPr sz="1100"/>
            </a:lvl2pPr>
            <a:lvl3pPr marL="1169959" indent="-276218">
              <a:spcBef>
                <a:spcPts val="600"/>
              </a:spcBef>
              <a:spcAft>
                <a:spcPts val="600"/>
              </a:spcAft>
              <a:defRPr sz="1050"/>
            </a:lvl3pPr>
            <a:lvl4pPr marL="1520787" indent="-266693">
              <a:spcBef>
                <a:spcPts val="600"/>
              </a:spcBef>
              <a:spcAft>
                <a:spcPts val="600"/>
              </a:spcAft>
              <a:defRPr sz="1000"/>
            </a:lvl4pPr>
            <a:lvl5pPr marL="1881141" indent="-265106">
              <a:spcBef>
                <a:spcPts val="600"/>
              </a:spcBef>
              <a:spcAft>
                <a:spcPts val="600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2" name="Content Placeholder 5"/>
          <p:cNvSpPr>
            <a:spLocks noGrp="1"/>
          </p:cNvSpPr>
          <p:nvPr>
            <p:ph sz="quarter" idx="12"/>
          </p:nvPr>
        </p:nvSpPr>
        <p:spPr>
          <a:xfrm>
            <a:off x="4696693" y="2925323"/>
            <a:ext cx="3973175" cy="169747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46077" indent="-265106">
              <a:spcBef>
                <a:spcPts val="600"/>
              </a:spcBef>
              <a:spcAft>
                <a:spcPts val="600"/>
              </a:spcAft>
              <a:tabLst>
                <a:tab pos="542912" algn="l"/>
              </a:tabLst>
              <a:defRPr sz="1200"/>
            </a:lvl1pPr>
            <a:lvl2pPr marL="808018" indent="-265106">
              <a:spcBef>
                <a:spcPts val="600"/>
              </a:spcBef>
              <a:spcAft>
                <a:spcPts val="600"/>
              </a:spcAft>
              <a:defRPr sz="1100"/>
            </a:lvl2pPr>
            <a:lvl3pPr marL="1169959" indent="-276218">
              <a:spcBef>
                <a:spcPts val="600"/>
              </a:spcBef>
              <a:spcAft>
                <a:spcPts val="600"/>
              </a:spcAft>
              <a:defRPr sz="1050"/>
            </a:lvl3pPr>
            <a:lvl4pPr marL="1520787" indent="-266693">
              <a:spcBef>
                <a:spcPts val="600"/>
              </a:spcBef>
              <a:spcAft>
                <a:spcPts val="600"/>
              </a:spcAft>
              <a:defRPr sz="1000"/>
            </a:lvl4pPr>
            <a:lvl5pPr marL="1881141" indent="-265106">
              <a:spcBef>
                <a:spcPts val="600"/>
              </a:spcBef>
              <a:spcAft>
                <a:spcPts val="600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3" name="Content Placeholder 3"/>
          <p:cNvSpPr>
            <a:spLocks noGrp="1"/>
          </p:cNvSpPr>
          <p:nvPr>
            <p:ph sz="quarter" idx="13"/>
          </p:nvPr>
        </p:nvSpPr>
        <p:spPr>
          <a:xfrm>
            <a:off x="431800" y="2925346"/>
            <a:ext cx="3973950" cy="1697821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anchor="t" anchorCtr="0"/>
          <a:lstStyle>
            <a:lvl1pPr marL="450839" indent="-368291">
              <a:spcBef>
                <a:spcPts val="600"/>
              </a:spcBef>
              <a:spcAft>
                <a:spcPts val="600"/>
              </a:spcAft>
              <a:defRPr sz="1200"/>
            </a:lvl1pPr>
            <a:lvl2pPr marL="808018" indent="-273044">
              <a:spcBef>
                <a:spcPts val="600"/>
              </a:spcBef>
              <a:spcAft>
                <a:spcPts val="600"/>
              </a:spcAft>
              <a:defRPr sz="1100"/>
            </a:lvl2pPr>
            <a:lvl3pPr marL="1163609" indent="-260344">
              <a:spcBef>
                <a:spcPts val="600"/>
              </a:spcBef>
              <a:spcAft>
                <a:spcPts val="600"/>
              </a:spcAft>
              <a:defRPr sz="1050"/>
            </a:lvl3pPr>
            <a:lvl4pPr marL="1520787" indent="-261932">
              <a:spcBef>
                <a:spcPts val="600"/>
              </a:spcBef>
              <a:spcAft>
                <a:spcPts val="600"/>
              </a:spcAft>
              <a:defRPr sz="1000"/>
            </a:lvl4pPr>
            <a:lvl5pPr marL="1887491" indent="-273044">
              <a:spcBef>
                <a:spcPts val="600"/>
              </a:spcBef>
              <a:spcAft>
                <a:spcPts val="600"/>
              </a:spcAft>
              <a:tabLst>
                <a:tab pos="1971626" algn="l"/>
              </a:tabLs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2462" y="136241"/>
            <a:ext cx="1209001" cy="545170"/>
          </a:xfrm>
          <a:prstGeom prst="rect">
            <a:avLst/>
          </a:prstGeom>
        </p:spPr>
      </p:pic>
      <p:grpSp>
        <p:nvGrpSpPr>
          <p:cNvPr id="19" name="Group 18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20" name="Rectangle 19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sp>
        <p:nvSpPr>
          <p:cNvPr id="2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5" y="4891581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6" name="Straight Connector 15"/>
          <p:cNvCxnSpPr/>
          <p:nvPr userDrawn="1"/>
        </p:nvCxnSpPr>
        <p:spPr>
          <a:xfrm rot="5400000">
            <a:off x="1135865" y="486757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1464732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41" indent="-268281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8626" y="355847"/>
            <a:ext cx="814799" cy="367413"/>
          </a:xfrm>
          <a:prstGeom prst="rect">
            <a:avLst/>
          </a:prstGeom>
        </p:spPr>
      </p:pic>
      <p:sp>
        <p:nvSpPr>
          <p:cNvPr id="2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5" y="4891902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25" name="Footer Placeholder 4"/>
          <p:cNvSpPr txBox="1">
            <a:spLocks/>
          </p:cNvSpPr>
          <p:nvPr userDrawn="1"/>
        </p:nvSpPr>
        <p:spPr>
          <a:xfrm>
            <a:off x="5054597" y="4915386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37095426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2"/>
          <p:cNvSpPr>
            <a:spLocks noGrp="1"/>
          </p:cNvSpPr>
          <p:nvPr>
            <p:ph type="body" sz="quarter" idx="23"/>
          </p:nvPr>
        </p:nvSpPr>
        <p:spPr>
          <a:xfrm>
            <a:off x="454610" y="941907"/>
            <a:ext cx="890475" cy="57154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marL="82548" indent="0">
              <a:buNone/>
              <a:defRPr sz="7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icture Placeholder 7"/>
          <p:cNvSpPr>
            <a:spLocks noGrp="1" noChangeAspect="1"/>
          </p:cNvSpPr>
          <p:nvPr>
            <p:ph type="pic" sz="quarter" idx="13"/>
          </p:nvPr>
        </p:nvSpPr>
        <p:spPr>
          <a:xfrm>
            <a:off x="635313" y="996673"/>
            <a:ext cx="540000" cy="540000"/>
          </a:xfrm>
          <a:prstGeom prst="rect">
            <a:avLst/>
          </a:prstGeom>
          <a:noFill/>
        </p:spPr>
        <p:txBody>
          <a:bodyPr anchor="ctr"/>
          <a:lstStyle>
            <a:lvl1pPr marL="82548" indent="0" algn="l">
              <a:buNone/>
              <a:defRPr sz="7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3" name="Text Placeholder 32"/>
          <p:cNvSpPr>
            <a:spLocks noGrp="1"/>
          </p:cNvSpPr>
          <p:nvPr>
            <p:ph type="body" sz="quarter" idx="14" hasCustomPrompt="1"/>
          </p:nvPr>
        </p:nvSpPr>
        <p:spPr>
          <a:xfrm>
            <a:off x="1491227" y="941907"/>
            <a:ext cx="7158532" cy="571547"/>
          </a:xfrm>
          <a:prstGeom prst="rect">
            <a:avLst/>
          </a:prstGeom>
        </p:spPr>
        <p:txBody>
          <a:bodyPr anchor="ctr"/>
          <a:lstStyle>
            <a:lvl1pPr marL="82548" indent="0">
              <a:buNone/>
              <a:defRPr sz="1200"/>
            </a:lvl1pPr>
          </a:lstStyle>
          <a:p>
            <a:pPr lvl="0"/>
            <a:r>
              <a:rPr lang="en-US" dirty="0"/>
              <a:t>Text here</a:t>
            </a:r>
            <a:endParaRPr lang="en-GB" dirty="0"/>
          </a:p>
        </p:txBody>
      </p:sp>
      <p:sp>
        <p:nvSpPr>
          <p:cNvPr id="25" name="Text Placeholder 32"/>
          <p:cNvSpPr>
            <a:spLocks noGrp="1"/>
          </p:cNvSpPr>
          <p:nvPr>
            <p:ph type="body" sz="quarter" idx="16" hasCustomPrompt="1"/>
          </p:nvPr>
        </p:nvSpPr>
        <p:spPr>
          <a:xfrm>
            <a:off x="1500752" y="1720576"/>
            <a:ext cx="7158532" cy="571547"/>
          </a:xfrm>
          <a:prstGeom prst="rect">
            <a:avLst/>
          </a:prstGeom>
        </p:spPr>
        <p:txBody>
          <a:bodyPr anchor="ctr"/>
          <a:lstStyle>
            <a:lvl1pPr marL="82548" indent="0">
              <a:buNone/>
              <a:defRPr sz="1200"/>
            </a:lvl1pPr>
          </a:lstStyle>
          <a:p>
            <a:pPr lvl="0"/>
            <a:r>
              <a:rPr lang="en-US" dirty="0"/>
              <a:t>Text here</a:t>
            </a:r>
            <a:endParaRPr lang="en-GB" dirty="0"/>
          </a:p>
        </p:txBody>
      </p:sp>
      <p:sp>
        <p:nvSpPr>
          <p:cNvPr id="26" name="Text Placeholder 32"/>
          <p:cNvSpPr>
            <a:spLocks noGrp="1"/>
          </p:cNvSpPr>
          <p:nvPr>
            <p:ph type="body" sz="quarter" idx="18" hasCustomPrompt="1"/>
          </p:nvPr>
        </p:nvSpPr>
        <p:spPr>
          <a:xfrm>
            <a:off x="1500752" y="2484956"/>
            <a:ext cx="7158532" cy="578655"/>
          </a:xfrm>
          <a:prstGeom prst="rect">
            <a:avLst/>
          </a:prstGeom>
        </p:spPr>
        <p:txBody>
          <a:bodyPr anchor="ctr"/>
          <a:lstStyle>
            <a:lvl1pPr marL="82548" indent="0">
              <a:buNone/>
              <a:defRPr sz="1200"/>
            </a:lvl1pPr>
          </a:lstStyle>
          <a:p>
            <a:pPr lvl="0"/>
            <a:r>
              <a:rPr lang="en-US" dirty="0"/>
              <a:t>Text here</a:t>
            </a:r>
            <a:endParaRPr lang="en-GB" dirty="0"/>
          </a:p>
        </p:txBody>
      </p:sp>
      <p:sp>
        <p:nvSpPr>
          <p:cNvPr id="27" name="Text Placehold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1510277" y="3277913"/>
            <a:ext cx="7158532" cy="578655"/>
          </a:xfrm>
          <a:prstGeom prst="rect">
            <a:avLst/>
          </a:prstGeom>
        </p:spPr>
        <p:txBody>
          <a:bodyPr anchor="ctr"/>
          <a:lstStyle>
            <a:lvl1pPr marL="82548" indent="0">
              <a:buNone/>
              <a:defRPr sz="1200"/>
            </a:lvl1pPr>
          </a:lstStyle>
          <a:p>
            <a:pPr lvl="0"/>
            <a:r>
              <a:rPr lang="en-US" dirty="0"/>
              <a:t>Text here</a:t>
            </a:r>
            <a:endParaRPr lang="en-GB" dirty="0"/>
          </a:p>
        </p:txBody>
      </p:sp>
      <p:sp>
        <p:nvSpPr>
          <p:cNvPr id="28" name="Text Placeholder 32"/>
          <p:cNvSpPr>
            <a:spLocks noGrp="1"/>
          </p:cNvSpPr>
          <p:nvPr>
            <p:ph type="body" sz="quarter" idx="22" hasCustomPrompt="1"/>
          </p:nvPr>
        </p:nvSpPr>
        <p:spPr>
          <a:xfrm>
            <a:off x="1519802" y="4078013"/>
            <a:ext cx="7158532" cy="578655"/>
          </a:xfrm>
          <a:prstGeom prst="rect">
            <a:avLst/>
          </a:prstGeom>
        </p:spPr>
        <p:txBody>
          <a:bodyPr anchor="ctr"/>
          <a:lstStyle>
            <a:lvl1pPr marL="82548" indent="0">
              <a:buNone/>
              <a:defRPr sz="1200"/>
            </a:lvl1pPr>
          </a:lstStyle>
          <a:p>
            <a:pPr lvl="0"/>
            <a:r>
              <a:rPr lang="en-US" dirty="0"/>
              <a:t>Text here</a:t>
            </a:r>
            <a:endParaRPr lang="en-GB" dirty="0"/>
          </a:p>
        </p:txBody>
      </p:sp>
      <p:sp>
        <p:nvSpPr>
          <p:cNvPr id="29" name="Text Placeholder 32"/>
          <p:cNvSpPr>
            <a:spLocks noGrp="1"/>
          </p:cNvSpPr>
          <p:nvPr>
            <p:ph type="body" sz="quarter" idx="24"/>
          </p:nvPr>
        </p:nvSpPr>
        <p:spPr>
          <a:xfrm>
            <a:off x="454610" y="1706513"/>
            <a:ext cx="890475" cy="58795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marL="82548" indent="0">
              <a:buNone/>
              <a:defRPr sz="7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7"/>
          <p:cNvSpPr>
            <a:spLocks noGrp="1" noChangeAspect="1"/>
          </p:cNvSpPr>
          <p:nvPr>
            <p:ph type="pic" sz="quarter" idx="25"/>
          </p:nvPr>
        </p:nvSpPr>
        <p:spPr>
          <a:xfrm>
            <a:off x="635313" y="1761280"/>
            <a:ext cx="540000" cy="467969"/>
          </a:xfrm>
          <a:prstGeom prst="rect">
            <a:avLst/>
          </a:prstGeom>
          <a:noFill/>
        </p:spPr>
        <p:txBody>
          <a:bodyPr anchor="ctr"/>
          <a:lstStyle>
            <a:lvl1pPr marL="82548" indent="0" algn="l">
              <a:buNone/>
              <a:defRPr sz="7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1" name="Text Placeholder 32"/>
          <p:cNvSpPr>
            <a:spLocks noGrp="1"/>
          </p:cNvSpPr>
          <p:nvPr>
            <p:ph type="body" sz="quarter" idx="26"/>
          </p:nvPr>
        </p:nvSpPr>
        <p:spPr>
          <a:xfrm>
            <a:off x="458801" y="2492325"/>
            <a:ext cx="890475" cy="57260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marL="82548" indent="0">
              <a:buNone/>
              <a:defRPr sz="7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7"/>
          <p:cNvSpPr>
            <a:spLocks noGrp="1" noChangeAspect="1"/>
          </p:cNvSpPr>
          <p:nvPr>
            <p:ph type="pic" sz="quarter" idx="27"/>
          </p:nvPr>
        </p:nvSpPr>
        <p:spPr>
          <a:xfrm>
            <a:off x="639504" y="2547093"/>
            <a:ext cx="540000" cy="467969"/>
          </a:xfrm>
          <a:prstGeom prst="rect">
            <a:avLst/>
          </a:prstGeom>
          <a:noFill/>
        </p:spPr>
        <p:txBody>
          <a:bodyPr anchor="ctr"/>
          <a:lstStyle>
            <a:lvl1pPr marL="82548" indent="0" algn="l">
              <a:buNone/>
              <a:defRPr sz="7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28"/>
          </p:nvPr>
        </p:nvSpPr>
        <p:spPr>
          <a:xfrm>
            <a:off x="464135" y="3283677"/>
            <a:ext cx="890475" cy="56865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marL="82548" indent="0">
              <a:buNone/>
              <a:defRPr sz="7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7"/>
          <p:cNvSpPr>
            <a:spLocks noGrp="1" noChangeAspect="1"/>
          </p:cNvSpPr>
          <p:nvPr>
            <p:ph type="pic" sz="quarter" idx="29"/>
          </p:nvPr>
        </p:nvSpPr>
        <p:spPr>
          <a:xfrm>
            <a:off x="644838" y="3338445"/>
            <a:ext cx="540000" cy="467969"/>
          </a:xfrm>
          <a:prstGeom prst="rect">
            <a:avLst/>
          </a:prstGeom>
          <a:noFill/>
        </p:spPr>
        <p:txBody>
          <a:bodyPr anchor="ctr"/>
          <a:lstStyle>
            <a:lvl1pPr marL="82548" indent="0" algn="l">
              <a:buNone/>
              <a:defRPr sz="7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5" name="Text Placeholder 32"/>
          <p:cNvSpPr>
            <a:spLocks noGrp="1"/>
          </p:cNvSpPr>
          <p:nvPr>
            <p:ph type="body" sz="quarter" idx="30"/>
          </p:nvPr>
        </p:nvSpPr>
        <p:spPr>
          <a:xfrm>
            <a:off x="476009" y="4089401"/>
            <a:ext cx="890475" cy="56726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anchor="ctr"/>
          <a:lstStyle>
            <a:lvl1pPr marL="82548" indent="0">
              <a:buNone/>
              <a:defRPr sz="7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7"/>
          <p:cNvSpPr>
            <a:spLocks noGrp="1" noChangeAspect="1"/>
          </p:cNvSpPr>
          <p:nvPr>
            <p:ph type="pic" sz="quarter" idx="31"/>
          </p:nvPr>
        </p:nvSpPr>
        <p:spPr>
          <a:xfrm>
            <a:off x="656713" y="4148088"/>
            <a:ext cx="540000" cy="467969"/>
          </a:xfrm>
          <a:prstGeom prst="rect">
            <a:avLst/>
          </a:prstGeom>
          <a:noFill/>
        </p:spPr>
        <p:txBody>
          <a:bodyPr anchor="ctr"/>
          <a:lstStyle>
            <a:lvl1pPr marL="82548" indent="0" algn="l">
              <a:buNone/>
              <a:defRPr sz="7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7" name="Group 46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48" name="Rectangle 47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sp>
        <p:nvSpPr>
          <p:cNvPr id="5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5" y="4891581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37" name="Straight Connector 36"/>
          <p:cNvCxnSpPr/>
          <p:nvPr userDrawn="1"/>
        </p:nvCxnSpPr>
        <p:spPr>
          <a:xfrm rot="5400000">
            <a:off x="1135865" y="486757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tle 1"/>
          <p:cNvSpPr>
            <a:spLocks noGrp="1"/>
          </p:cNvSpPr>
          <p:nvPr>
            <p:ph type="title" hasCustomPrompt="1"/>
          </p:nvPr>
        </p:nvSpPr>
        <p:spPr>
          <a:xfrm>
            <a:off x="1464732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41" indent="-268281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39" name="Picture 3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8626" y="355847"/>
            <a:ext cx="814799" cy="367413"/>
          </a:xfrm>
          <a:prstGeom prst="rect">
            <a:avLst/>
          </a:prstGeom>
        </p:spPr>
      </p:pic>
      <p:sp>
        <p:nvSpPr>
          <p:cNvPr id="4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5" y="4891902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41" name="Footer Placeholder 4"/>
          <p:cNvSpPr txBox="1">
            <a:spLocks/>
          </p:cNvSpPr>
          <p:nvPr userDrawn="1"/>
        </p:nvSpPr>
        <p:spPr>
          <a:xfrm>
            <a:off x="5054597" y="4915386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109718344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2462" y="136241"/>
            <a:ext cx="1209001" cy="545170"/>
          </a:xfrm>
          <a:prstGeom prst="rect">
            <a:avLst/>
          </a:prstGeom>
        </p:spPr>
      </p:pic>
      <p:grpSp>
        <p:nvGrpSpPr>
          <p:cNvPr id="17" name="Group 16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18" name="Rectangle 17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 dirty="0">
                <a:solidFill>
                  <a:schemeClr val="accent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/>
            </a:p>
          </p:txBody>
        </p:sp>
      </p:grpSp>
      <p:sp>
        <p:nvSpPr>
          <p:cNvPr id="2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80015" y="4891581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 rot="5400000">
            <a:off x="1135865" y="486757"/>
            <a:ext cx="470604" cy="2403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464732" y="427431"/>
            <a:ext cx="7221271" cy="38700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361941" indent="-268281">
              <a:defRPr sz="1800">
                <a:solidFill>
                  <a:srgbClr val="80828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8626" y="355847"/>
            <a:ext cx="814799" cy="367413"/>
          </a:xfrm>
          <a:prstGeom prst="rect">
            <a:avLst/>
          </a:prstGeom>
        </p:spPr>
      </p:pic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1145" y="4891902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5054597" y="4915386"/>
            <a:ext cx="3731608" cy="1444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algn="r"/>
            <a:r>
              <a:rPr lang="en-GB" sz="600" dirty="0">
                <a:solidFill>
                  <a:schemeClr val="tx1"/>
                </a:solidFill>
              </a:rPr>
              <a:t>Copyright © 2018 GSMA. The Mobile Connect logo is a trade mark registered and owned by the GSMA.</a:t>
            </a:r>
          </a:p>
        </p:txBody>
      </p:sp>
    </p:spTree>
    <p:extLst>
      <p:ext uri="{BB962C8B-B14F-4D97-AF65-F5344CB8AC3E}">
        <p14:creationId xmlns:p14="http://schemas.microsoft.com/office/powerpoint/2010/main" val="20948609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fld id="{2FD851C3-5578-43CD-9113-578DB5FD4F39}" type="datetimeFigureOut">
              <a:rPr lang="en-GB" smtClean="0"/>
              <a:t>24/07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B5ABE-0FF9-4EAB-A450-2D7FCCA3A9B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583256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Fotoğraf - Yat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örüntü"/>
          <p:cNvSpPr>
            <a:spLocks noGrp="1"/>
          </p:cNvSpPr>
          <p:nvPr>
            <p:ph type="pic" idx="13"/>
          </p:nvPr>
        </p:nvSpPr>
        <p:spPr>
          <a:xfrm>
            <a:off x="1222168" y="252629"/>
            <a:ext cx="6701600" cy="327940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" name="Başlık Metni"/>
          <p:cNvSpPr txBox="1">
            <a:spLocks noGrp="1"/>
          </p:cNvSpPr>
          <p:nvPr>
            <p:ph type="title"/>
          </p:nvPr>
        </p:nvSpPr>
        <p:spPr>
          <a:xfrm>
            <a:off x="301689" y="3570164"/>
            <a:ext cx="8541253" cy="753119"/>
          </a:xfrm>
          <a:prstGeom prst="rect">
            <a:avLst/>
          </a:prstGeom>
        </p:spPr>
        <p:txBody>
          <a:bodyPr lIns="53630" tIns="53630" rIns="53630" bIns="53630" anchor="b"/>
          <a:lstStyle>
            <a:lvl1pPr algn="ctr" defTabSz="305048">
              <a:lnSpc>
                <a:spcPct val="100000"/>
              </a:lnSpc>
              <a:defRPr sz="405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Başlık Metni</a:t>
            </a:r>
          </a:p>
        </p:txBody>
      </p:sp>
      <p:sp>
        <p:nvSpPr>
          <p:cNvPr id="13" name="Gövde Düzeyi Bir…"/>
          <p:cNvSpPr txBox="1">
            <a:spLocks noGrp="1"/>
          </p:cNvSpPr>
          <p:nvPr>
            <p:ph type="body" sz="quarter" idx="1"/>
          </p:nvPr>
        </p:nvSpPr>
        <p:spPr>
          <a:xfrm>
            <a:off x="301689" y="4294683"/>
            <a:ext cx="8541253" cy="595823"/>
          </a:xfrm>
          <a:prstGeom prst="rect">
            <a:avLst/>
          </a:prstGeom>
        </p:spPr>
        <p:txBody>
          <a:bodyPr lIns="53630" tIns="53630" rIns="53630" bIns="53630"/>
          <a:lstStyle>
            <a:lvl1pPr marL="0" indent="0" algn="ctr" defTabSz="30504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1pPr>
            <a:lvl2pPr marL="0" indent="0" algn="ctr" defTabSz="30504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2pPr>
            <a:lvl3pPr marL="0" indent="0" algn="ctr" defTabSz="30504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3pPr>
            <a:lvl4pPr marL="0" indent="0" algn="ctr" defTabSz="30504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4pPr>
            <a:lvl5pPr marL="0" indent="0" algn="ctr" defTabSz="30504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14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0894" y="4909572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75950303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aşlık - Or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aşlık Metni"/>
          <p:cNvSpPr txBox="1">
            <a:spLocks noGrp="1"/>
          </p:cNvSpPr>
          <p:nvPr>
            <p:ph type="title"/>
          </p:nvPr>
        </p:nvSpPr>
        <p:spPr>
          <a:xfrm>
            <a:off x="724058" y="1701667"/>
            <a:ext cx="7696514" cy="1744566"/>
          </a:xfrm>
          <a:prstGeom prst="rect">
            <a:avLst/>
          </a:prstGeom>
        </p:spPr>
        <p:txBody>
          <a:bodyPr lIns="53630" tIns="53630" rIns="53630" bIns="53630"/>
          <a:lstStyle>
            <a:lvl1pPr algn="ctr" defTabSz="305048">
              <a:lnSpc>
                <a:spcPct val="100000"/>
              </a:lnSpc>
              <a:defRPr sz="405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Başlık Metni</a:t>
            </a:r>
          </a:p>
        </p:txBody>
      </p:sp>
      <p:sp>
        <p:nvSpPr>
          <p:cNvPr id="22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0894" y="4909572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2293485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otoğraf - Düş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örüntü"/>
          <p:cNvSpPr>
            <a:spLocks noGrp="1"/>
          </p:cNvSpPr>
          <p:nvPr>
            <p:ph type="pic" sz="half" idx="13"/>
          </p:nvPr>
        </p:nvSpPr>
        <p:spPr>
          <a:xfrm>
            <a:off x="4932227" y="357495"/>
            <a:ext cx="3519748" cy="430421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0" name="Başlık Metni"/>
          <p:cNvSpPr txBox="1">
            <a:spLocks noGrp="1"/>
          </p:cNvSpPr>
          <p:nvPr>
            <p:ph type="title"/>
          </p:nvPr>
        </p:nvSpPr>
        <p:spPr>
          <a:xfrm>
            <a:off x="677128" y="357494"/>
            <a:ext cx="3777862" cy="2082993"/>
          </a:xfrm>
          <a:prstGeom prst="rect">
            <a:avLst/>
          </a:prstGeom>
        </p:spPr>
        <p:txBody>
          <a:bodyPr lIns="53630" tIns="53630" rIns="53630" bIns="53630" anchor="b"/>
          <a:lstStyle>
            <a:lvl1pPr algn="ctr" defTabSz="305048">
              <a:lnSpc>
                <a:spcPct val="100000"/>
              </a:lnSpc>
              <a:defRPr sz="3075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Başlık Metni</a:t>
            </a:r>
          </a:p>
        </p:txBody>
      </p:sp>
      <p:sp>
        <p:nvSpPr>
          <p:cNvPr id="31" name="Gövde Düzeyi Bir…"/>
          <p:cNvSpPr txBox="1">
            <a:spLocks noGrp="1"/>
          </p:cNvSpPr>
          <p:nvPr>
            <p:ph type="body" sz="quarter" idx="1"/>
          </p:nvPr>
        </p:nvSpPr>
        <p:spPr>
          <a:xfrm>
            <a:off x="677128" y="2450018"/>
            <a:ext cx="3777862" cy="2149725"/>
          </a:xfrm>
          <a:prstGeom prst="rect">
            <a:avLst/>
          </a:prstGeom>
        </p:spPr>
        <p:txBody>
          <a:bodyPr lIns="53630" tIns="53630" rIns="53630" bIns="53630"/>
          <a:lstStyle>
            <a:lvl1pPr marL="0" indent="0" algn="ctr" defTabSz="30504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1pPr>
            <a:lvl2pPr marL="0" indent="0" algn="ctr" defTabSz="30504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2pPr>
            <a:lvl3pPr marL="0" indent="0" algn="ctr" defTabSz="30504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3pPr>
            <a:lvl4pPr marL="0" indent="0" algn="ctr" defTabSz="30504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4pPr>
            <a:lvl5pPr marL="0" indent="0" algn="ctr" defTabSz="30504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950">
                <a:latin typeface="+mn-lt"/>
                <a:ea typeface="+mn-ea"/>
                <a:cs typeface="+mn-cs"/>
                <a:sym typeface="Helvetica Neue"/>
              </a:defRPr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32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0894" y="4909572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54927523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aşlık - Ü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aşlık Metni"/>
          <p:cNvSpPr txBox="1">
            <a:spLocks noGrp="1"/>
          </p:cNvSpPr>
          <p:nvPr>
            <p:ph type="title"/>
          </p:nvPr>
        </p:nvSpPr>
        <p:spPr>
          <a:xfrm>
            <a:off x="691208" y="133465"/>
            <a:ext cx="7762216" cy="857984"/>
          </a:xfrm>
          <a:prstGeom prst="rect">
            <a:avLst/>
          </a:prstGeom>
        </p:spPr>
        <p:txBody>
          <a:bodyPr lIns="53630" tIns="53630" rIns="53630" bIns="53630"/>
          <a:lstStyle>
            <a:lvl1pPr algn="ctr" defTabSz="305048">
              <a:lnSpc>
                <a:spcPct val="100000"/>
              </a:lnSpc>
              <a:defRPr sz="405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Başlık Metni</a:t>
            </a:r>
          </a:p>
        </p:txBody>
      </p:sp>
      <p:sp>
        <p:nvSpPr>
          <p:cNvPr id="40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0894" y="4909572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92291581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aşlık, Maddeler ve Fotoğr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örüntü"/>
          <p:cNvSpPr>
            <a:spLocks noGrp="1"/>
          </p:cNvSpPr>
          <p:nvPr>
            <p:ph type="pic" sz="half" idx="13"/>
          </p:nvPr>
        </p:nvSpPr>
        <p:spPr>
          <a:xfrm>
            <a:off x="4933676" y="1182110"/>
            <a:ext cx="3519747" cy="348913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8" name="Başlık Metni"/>
          <p:cNvSpPr txBox="1">
            <a:spLocks noGrp="1"/>
          </p:cNvSpPr>
          <p:nvPr>
            <p:ph type="title"/>
          </p:nvPr>
        </p:nvSpPr>
        <p:spPr>
          <a:xfrm>
            <a:off x="691208" y="133465"/>
            <a:ext cx="7762216" cy="857984"/>
          </a:xfrm>
          <a:prstGeom prst="rect">
            <a:avLst/>
          </a:prstGeom>
        </p:spPr>
        <p:txBody>
          <a:bodyPr lIns="53630" tIns="53630" rIns="53630" bIns="53630"/>
          <a:lstStyle>
            <a:lvl1pPr algn="ctr" defTabSz="305048">
              <a:lnSpc>
                <a:spcPct val="100000"/>
              </a:lnSpc>
              <a:defRPr sz="405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Başlık Metni</a:t>
            </a:r>
          </a:p>
        </p:txBody>
      </p:sp>
      <p:sp>
        <p:nvSpPr>
          <p:cNvPr id="49" name="Gövde Düzeyi Bir…"/>
          <p:cNvSpPr txBox="1">
            <a:spLocks noGrp="1"/>
          </p:cNvSpPr>
          <p:nvPr>
            <p:ph type="body" sz="half" idx="1"/>
          </p:nvPr>
        </p:nvSpPr>
        <p:spPr>
          <a:xfrm>
            <a:off x="691206" y="1182110"/>
            <a:ext cx="3777863" cy="3489132"/>
          </a:xfrm>
          <a:prstGeom prst="rect">
            <a:avLst/>
          </a:prstGeom>
        </p:spPr>
        <p:txBody>
          <a:bodyPr lIns="53630" tIns="53630" rIns="53630" bIns="53630" anchor="ctr"/>
          <a:lstStyle>
            <a:lvl1pPr marL="201184" indent="-201184" defTabSz="305048">
              <a:lnSpc>
                <a:spcPct val="100000"/>
              </a:lnSpc>
              <a:spcBef>
                <a:spcPts val="1650"/>
              </a:spcBef>
              <a:buSzPct val="125000"/>
              <a:buFontTx/>
              <a:defRPr sz="1350">
                <a:latin typeface="+mn-lt"/>
                <a:ea typeface="+mn-ea"/>
                <a:cs typeface="+mn-cs"/>
                <a:sym typeface="Helvetica Neue"/>
              </a:defRPr>
            </a:lvl1pPr>
            <a:lvl2pPr marL="396779" indent="-201184" defTabSz="305048">
              <a:lnSpc>
                <a:spcPct val="100000"/>
              </a:lnSpc>
              <a:spcBef>
                <a:spcPts val="1650"/>
              </a:spcBef>
              <a:buSzPct val="125000"/>
              <a:buFontTx/>
              <a:defRPr sz="1350">
                <a:latin typeface="+mn-lt"/>
                <a:ea typeface="+mn-ea"/>
                <a:cs typeface="+mn-cs"/>
                <a:sym typeface="Helvetica Neue"/>
              </a:defRPr>
            </a:lvl2pPr>
            <a:lvl3pPr marL="592375" indent="-201184" defTabSz="305048">
              <a:lnSpc>
                <a:spcPct val="100000"/>
              </a:lnSpc>
              <a:spcBef>
                <a:spcPts val="1650"/>
              </a:spcBef>
              <a:buSzPct val="125000"/>
              <a:buFontTx/>
              <a:defRPr sz="1350">
                <a:latin typeface="+mn-lt"/>
                <a:ea typeface="+mn-ea"/>
                <a:cs typeface="+mn-cs"/>
                <a:sym typeface="Helvetica Neue"/>
              </a:defRPr>
            </a:lvl3pPr>
            <a:lvl4pPr marL="787970" indent="-201184" defTabSz="305048">
              <a:lnSpc>
                <a:spcPct val="100000"/>
              </a:lnSpc>
              <a:spcBef>
                <a:spcPts val="1650"/>
              </a:spcBef>
              <a:buSzPct val="125000"/>
              <a:buFontTx/>
              <a:defRPr sz="1350">
                <a:latin typeface="+mn-lt"/>
                <a:ea typeface="+mn-ea"/>
                <a:cs typeface="+mn-cs"/>
                <a:sym typeface="Helvetica Neue"/>
              </a:defRPr>
            </a:lvl4pPr>
            <a:lvl5pPr marL="983566" indent="-201184" defTabSz="305048">
              <a:lnSpc>
                <a:spcPct val="100000"/>
              </a:lnSpc>
              <a:spcBef>
                <a:spcPts val="1650"/>
              </a:spcBef>
              <a:buSzPct val="125000"/>
              <a:buFontTx/>
              <a:defRPr sz="1350">
                <a:latin typeface="+mn-lt"/>
                <a:ea typeface="+mn-ea"/>
                <a:cs typeface="+mn-cs"/>
                <a:sym typeface="Helvetica Neue"/>
              </a:defRPr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50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0894" y="4909572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0661260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155631" y="123478"/>
            <a:ext cx="3330575" cy="2088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155631" y="2355726"/>
            <a:ext cx="3330575" cy="22322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3633538" y="123478"/>
            <a:ext cx="2714782" cy="4464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6492335" y="123478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6492335" y="1635646"/>
            <a:ext cx="2538487" cy="1440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6492335" y="3219822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7735922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ad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övde Düzeyi Bir…"/>
          <p:cNvSpPr txBox="1">
            <a:spLocks noGrp="1"/>
          </p:cNvSpPr>
          <p:nvPr>
            <p:ph type="body" idx="1"/>
          </p:nvPr>
        </p:nvSpPr>
        <p:spPr>
          <a:xfrm>
            <a:off x="691208" y="667321"/>
            <a:ext cx="7762216" cy="3813260"/>
          </a:xfrm>
          <a:prstGeom prst="rect">
            <a:avLst/>
          </a:prstGeom>
        </p:spPr>
        <p:txBody>
          <a:bodyPr lIns="53630" tIns="53630" rIns="53630" bIns="53630" anchor="ctr"/>
          <a:lstStyle>
            <a:lvl1pPr marL="232370" indent="-232370" defTabSz="305048">
              <a:lnSpc>
                <a:spcPct val="100000"/>
              </a:lnSpc>
              <a:spcBef>
                <a:spcPts val="2175"/>
              </a:spcBef>
              <a:buSzPct val="125000"/>
              <a:buFontTx/>
              <a:defRPr sz="1725">
                <a:latin typeface="+mn-lt"/>
                <a:ea typeface="+mn-ea"/>
                <a:cs typeface="+mn-cs"/>
                <a:sym typeface="Helvetica Neue"/>
              </a:defRPr>
            </a:lvl1pPr>
            <a:lvl2pPr marL="454638" indent="-232370" defTabSz="305048">
              <a:lnSpc>
                <a:spcPct val="100000"/>
              </a:lnSpc>
              <a:spcBef>
                <a:spcPts val="2175"/>
              </a:spcBef>
              <a:buSzPct val="125000"/>
              <a:buFontTx/>
              <a:defRPr sz="1725">
                <a:latin typeface="+mn-lt"/>
                <a:ea typeface="+mn-ea"/>
                <a:cs typeface="+mn-cs"/>
                <a:sym typeface="Helvetica Neue"/>
              </a:defRPr>
            </a:lvl2pPr>
            <a:lvl3pPr marL="676906" indent="-232370" defTabSz="305048">
              <a:lnSpc>
                <a:spcPct val="100000"/>
              </a:lnSpc>
              <a:spcBef>
                <a:spcPts val="2175"/>
              </a:spcBef>
              <a:buSzPct val="125000"/>
              <a:buFontTx/>
              <a:defRPr sz="1725">
                <a:latin typeface="+mn-lt"/>
                <a:ea typeface="+mn-ea"/>
                <a:cs typeface="+mn-cs"/>
                <a:sym typeface="Helvetica Neue"/>
              </a:defRPr>
            </a:lvl3pPr>
            <a:lvl4pPr marL="899174" indent="-232370" defTabSz="305048">
              <a:lnSpc>
                <a:spcPct val="100000"/>
              </a:lnSpc>
              <a:spcBef>
                <a:spcPts val="2175"/>
              </a:spcBef>
              <a:buSzPct val="125000"/>
              <a:buFontTx/>
              <a:defRPr sz="1725">
                <a:latin typeface="+mn-lt"/>
                <a:ea typeface="+mn-ea"/>
                <a:cs typeface="+mn-cs"/>
                <a:sym typeface="Helvetica Neue"/>
              </a:defRPr>
            </a:lvl4pPr>
            <a:lvl5pPr marL="1121441" indent="-232370" defTabSz="305048">
              <a:lnSpc>
                <a:spcPct val="100000"/>
              </a:lnSpc>
              <a:spcBef>
                <a:spcPts val="2175"/>
              </a:spcBef>
              <a:buSzPct val="125000"/>
              <a:buFontTx/>
              <a:defRPr sz="1725">
                <a:latin typeface="+mn-lt"/>
                <a:ea typeface="+mn-ea"/>
                <a:cs typeface="+mn-cs"/>
                <a:sym typeface="Helvetica Neue"/>
              </a:defRPr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58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0894" y="4909572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10470647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otoğraf - 3 Yukar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örüntü"/>
          <p:cNvSpPr>
            <a:spLocks noGrp="1"/>
          </p:cNvSpPr>
          <p:nvPr>
            <p:ph type="pic" sz="quarter" idx="13"/>
          </p:nvPr>
        </p:nvSpPr>
        <p:spPr>
          <a:xfrm>
            <a:off x="5891047" y="2645449"/>
            <a:ext cx="2736017" cy="208299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6" name="Görüntü"/>
          <p:cNvSpPr>
            <a:spLocks noGrp="1"/>
          </p:cNvSpPr>
          <p:nvPr>
            <p:ph type="pic" sz="quarter" idx="14"/>
          </p:nvPr>
        </p:nvSpPr>
        <p:spPr>
          <a:xfrm>
            <a:off x="5891047" y="424225"/>
            <a:ext cx="2736017" cy="208299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7" name="Görüntü"/>
          <p:cNvSpPr>
            <a:spLocks noGrp="1"/>
          </p:cNvSpPr>
          <p:nvPr>
            <p:ph type="pic" idx="15"/>
          </p:nvPr>
        </p:nvSpPr>
        <p:spPr>
          <a:xfrm>
            <a:off x="512874" y="424226"/>
            <a:ext cx="5237384" cy="430421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8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0894" y="4909572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50146057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lınt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övde Düzeyi Bir…"/>
          <p:cNvSpPr txBox="1">
            <a:spLocks noGrp="1"/>
          </p:cNvSpPr>
          <p:nvPr>
            <p:ph type="body" sz="quarter" idx="1"/>
          </p:nvPr>
        </p:nvSpPr>
        <p:spPr>
          <a:xfrm>
            <a:off x="949322" y="3360435"/>
            <a:ext cx="7250679" cy="219759"/>
          </a:xfrm>
          <a:prstGeom prst="rect">
            <a:avLst/>
          </a:prstGeom>
        </p:spPr>
        <p:txBody>
          <a:bodyPr lIns="53630" tIns="53630" rIns="53630" bIns="53630"/>
          <a:lstStyle>
            <a:lvl1pPr marL="0" indent="0" algn="ctr" defTabSz="30504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125" i="1">
                <a:latin typeface="+mn-lt"/>
                <a:ea typeface="+mn-ea"/>
                <a:cs typeface="+mn-cs"/>
                <a:sym typeface="Helvetica Neue"/>
              </a:defRPr>
            </a:lvl1pPr>
            <a:lvl2pPr marL="363764" indent="-141497" algn="ctr" defTabSz="305048">
              <a:lnSpc>
                <a:spcPct val="100000"/>
              </a:lnSpc>
              <a:spcBef>
                <a:spcPts val="0"/>
              </a:spcBef>
              <a:buSzPct val="125000"/>
              <a:buFontTx/>
              <a:defRPr sz="1125" i="1">
                <a:latin typeface="+mn-lt"/>
                <a:ea typeface="+mn-ea"/>
                <a:cs typeface="+mn-cs"/>
                <a:sym typeface="Helvetica Neue"/>
              </a:defRPr>
            </a:lvl2pPr>
            <a:lvl3pPr marL="586032" indent="-141497" algn="ctr" defTabSz="305048">
              <a:lnSpc>
                <a:spcPct val="100000"/>
              </a:lnSpc>
              <a:spcBef>
                <a:spcPts val="0"/>
              </a:spcBef>
              <a:buSzPct val="125000"/>
              <a:buFontTx/>
              <a:defRPr sz="1125" i="1">
                <a:latin typeface="+mn-lt"/>
                <a:ea typeface="+mn-ea"/>
                <a:cs typeface="+mn-cs"/>
                <a:sym typeface="Helvetica Neue"/>
              </a:defRPr>
            </a:lvl3pPr>
            <a:lvl4pPr marL="808299" indent="-141497" algn="ctr" defTabSz="305048">
              <a:lnSpc>
                <a:spcPct val="100000"/>
              </a:lnSpc>
              <a:spcBef>
                <a:spcPts val="0"/>
              </a:spcBef>
              <a:buSzPct val="125000"/>
              <a:buFontTx/>
              <a:defRPr sz="1125" i="1">
                <a:latin typeface="+mn-lt"/>
                <a:ea typeface="+mn-ea"/>
                <a:cs typeface="+mn-cs"/>
                <a:sym typeface="Helvetica Neue"/>
              </a:defRPr>
            </a:lvl4pPr>
            <a:lvl5pPr marL="1030568" indent="-141497" algn="ctr" defTabSz="305048">
              <a:lnSpc>
                <a:spcPct val="100000"/>
              </a:lnSpc>
              <a:spcBef>
                <a:spcPts val="0"/>
              </a:spcBef>
              <a:buSzPct val="125000"/>
              <a:buFontTx/>
              <a:defRPr sz="1125" i="1">
                <a:latin typeface="+mn-lt"/>
                <a:ea typeface="+mn-ea"/>
                <a:cs typeface="+mn-cs"/>
                <a:sym typeface="Helvetica Neue"/>
              </a:defRPr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76" name="“Buraya bir alıntı yazın.”"/>
          <p:cNvSpPr txBox="1">
            <a:spLocks noGrp="1"/>
          </p:cNvSpPr>
          <p:nvPr>
            <p:ph type="body" sz="quarter" idx="13"/>
          </p:nvPr>
        </p:nvSpPr>
        <p:spPr>
          <a:xfrm>
            <a:off x="949322" y="2280807"/>
            <a:ext cx="7250680" cy="309827"/>
          </a:xfrm>
          <a:prstGeom prst="rect">
            <a:avLst/>
          </a:prstGeom>
        </p:spPr>
        <p:txBody>
          <a:bodyPr lIns="53630" tIns="53630" rIns="53630" bIns="53630" anchor="ctr"/>
          <a:lstStyle>
            <a:lvl1pPr marL="0" indent="0" algn="ctr" defTabSz="61009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60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 marL="0" indent="0" algn="ctr" defTabSz="813454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60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sp>
        <p:nvSpPr>
          <p:cNvPr id="77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0894" y="4909572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54284655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Рисунок 33"/>
          <p:cNvSpPr>
            <a:spLocks noGrp="1"/>
          </p:cNvSpPr>
          <p:nvPr>
            <p:ph type="pic" sz="half" idx="13"/>
          </p:nvPr>
        </p:nvSpPr>
        <p:spPr>
          <a:xfrm>
            <a:off x="686514" y="857984"/>
            <a:ext cx="3378957" cy="343193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85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6366215" y="4690835"/>
            <a:ext cx="158387" cy="161016"/>
          </a:xfrm>
          <a:prstGeom prst="rect">
            <a:avLst/>
          </a:prstGeom>
        </p:spPr>
        <p:txBody>
          <a:bodyPr lIns="48265" tIns="48265" rIns="48265" bIns="48265"/>
          <a:lstStyle>
            <a:lvl1pPr defTabSz="168949">
              <a:defRPr sz="413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9715183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924026" y="1786870"/>
            <a:ext cx="2739538" cy="157416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93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6199809" y="4610388"/>
            <a:ext cx="324793" cy="321907"/>
          </a:xfrm>
          <a:prstGeom prst="rect">
            <a:avLst/>
          </a:prstGeom>
        </p:spPr>
        <p:txBody>
          <a:bodyPr lIns="96532" tIns="96532" rIns="96532" bIns="96532"/>
          <a:lstStyle>
            <a:lvl1pPr defTabSz="675797">
              <a:defRPr>
                <a:latin typeface="Raleway Regular"/>
                <a:ea typeface="Raleway Regular"/>
                <a:cs typeface="Raleway Regular"/>
                <a:sym typeface="Raleway Regular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02449403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Picture Placeholder 4"/>
          <p:cNvSpPr>
            <a:spLocks noGrp="1"/>
          </p:cNvSpPr>
          <p:nvPr>
            <p:ph type="pic" idx="13"/>
          </p:nvPr>
        </p:nvSpPr>
        <p:spPr>
          <a:xfrm>
            <a:off x="67037" y="1"/>
            <a:ext cx="8162711" cy="51479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01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6199809" y="4610388"/>
            <a:ext cx="324793" cy="321907"/>
          </a:xfrm>
          <a:prstGeom prst="rect">
            <a:avLst/>
          </a:prstGeom>
        </p:spPr>
        <p:txBody>
          <a:bodyPr lIns="96532" tIns="96532" rIns="96532" bIns="96532"/>
          <a:lstStyle>
            <a:lvl1pPr defTabSz="675797">
              <a:defRPr>
                <a:latin typeface="Raleway Regular"/>
                <a:ea typeface="Raleway Regular"/>
                <a:cs typeface="Raleway Regular"/>
                <a:sym typeface="Raleway Regular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96115555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0894" y="4909572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42394361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aşlık ve Alt An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Başlık Metni"/>
          <p:cNvSpPr txBox="1">
            <a:spLocks noGrp="1"/>
          </p:cNvSpPr>
          <p:nvPr>
            <p:ph type="title"/>
          </p:nvPr>
        </p:nvSpPr>
        <p:spPr>
          <a:xfrm>
            <a:off x="724058" y="862750"/>
            <a:ext cx="7696514" cy="1744566"/>
          </a:xfrm>
          <a:prstGeom prst="rect">
            <a:avLst/>
          </a:prstGeom>
        </p:spPr>
        <p:txBody>
          <a:bodyPr lIns="53630" tIns="53630" rIns="53630" bIns="53630" anchor="b"/>
          <a:lstStyle>
            <a:lvl1pPr algn="ctr" defTabSz="305048">
              <a:lnSpc>
                <a:spcPct val="100000"/>
              </a:lnSpc>
              <a:defRPr sz="405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Başlık Metni</a:t>
            </a:r>
          </a:p>
        </p:txBody>
      </p:sp>
      <p:sp>
        <p:nvSpPr>
          <p:cNvPr id="133" name="Gövde Düzeyi Bir…"/>
          <p:cNvSpPr txBox="1">
            <a:spLocks noGrp="1"/>
          </p:cNvSpPr>
          <p:nvPr>
            <p:ph type="body" sz="quarter" idx="1"/>
          </p:nvPr>
        </p:nvSpPr>
        <p:spPr>
          <a:xfrm>
            <a:off x="724058" y="2654981"/>
            <a:ext cx="7696514" cy="595823"/>
          </a:xfrm>
          <a:prstGeom prst="rect">
            <a:avLst/>
          </a:prstGeom>
        </p:spPr>
        <p:txBody>
          <a:bodyPr lIns="53630" tIns="53630" rIns="53630" bIns="53630"/>
          <a:lstStyle>
            <a:lvl1pPr marL="0" indent="0" algn="ctr" defTabSz="30504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575">
                <a:latin typeface="+mn-lt"/>
                <a:ea typeface="+mn-ea"/>
                <a:cs typeface="+mn-cs"/>
                <a:sym typeface="Helvetica Neue"/>
              </a:defRPr>
            </a:lvl1pPr>
            <a:lvl2pPr marL="0" indent="0" algn="ctr" defTabSz="30504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575">
                <a:latin typeface="+mn-lt"/>
                <a:ea typeface="+mn-ea"/>
                <a:cs typeface="+mn-cs"/>
                <a:sym typeface="Helvetica Neue"/>
              </a:defRPr>
            </a:lvl2pPr>
            <a:lvl3pPr marL="0" indent="0" algn="ctr" defTabSz="30504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575">
                <a:latin typeface="+mn-lt"/>
                <a:ea typeface="+mn-ea"/>
                <a:cs typeface="+mn-cs"/>
                <a:sym typeface="Helvetica Neue"/>
              </a:defRPr>
            </a:lvl3pPr>
            <a:lvl4pPr marL="0" indent="0" algn="ctr" defTabSz="30504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575">
                <a:latin typeface="+mn-lt"/>
                <a:ea typeface="+mn-ea"/>
                <a:cs typeface="+mn-cs"/>
                <a:sym typeface="Helvetica Neue"/>
              </a:defRPr>
            </a:lvl4pPr>
            <a:lvl5pPr marL="0" indent="0" algn="ctr" defTabSz="305048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575">
                <a:latin typeface="+mn-lt"/>
                <a:ea typeface="+mn-ea"/>
                <a:cs typeface="+mn-cs"/>
                <a:sym typeface="Helvetica Neue"/>
              </a:defRPr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134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50894" y="4909572"/>
            <a:ext cx="238151" cy="235265"/>
          </a:xfrm>
          <a:prstGeom prst="rect">
            <a:avLst/>
          </a:prstGeom>
        </p:spPr>
        <p:txBody>
          <a:bodyPr lIns="53630" tIns="53630" rIns="53630" bIns="53630" anchor="t"/>
          <a:lstStyle>
            <a:lvl1pPr algn="ctr">
              <a:defRPr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9916331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Başlık Metni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aşlık Metni</a:t>
            </a:r>
          </a:p>
        </p:txBody>
      </p:sp>
      <p:sp>
        <p:nvSpPr>
          <p:cNvPr id="151" name="Gövde Düzeyi Bir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152" name="Slayt Numarası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65460702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ölüm Üst 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Başlık Metni"/>
          <p:cNvSpPr txBox="1">
            <a:spLocks noGrp="1"/>
          </p:cNvSpPr>
          <p:nvPr>
            <p:ph type="title"/>
          </p:nvPr>
        </p:nvSpPr>
        <p:spPr>
          <a:xfrm>
            <a:off x="681821" y="1283401"/>
            <a:ext cx="7771602" cy="2141384"/>
          </a:xfrm>
          <a:prstGeom prst="rect">
            <a:avLst/>
          </a:prstGeom>
        </p:spPr>
        <p:txBody>
          <a:bodyPr anchor="b"/>
          <a:lstStyle>
            <a:lvl1pPr>
              <a:defRPr sz="4425"/>
            </a:lvl1pPr>
          </a:lstStyle>
          <a:p>
            <a:r>
              <a:t>Başlık Metni</a:t>
            </a:r>
          </a:p>
        </p:txBody>
      </p:sp>
      <p:sp>
        <p:nvSpPr>
          <p:cNvPr id="160" name="Gövde Düzeyi Bir…"/>
          <p:cNvSpPr txBox="1">
            <a:spLocks noGrp="1"/>
          </p:cNvSpPr>
          <p:nvPr>
            <p:ph type="body" sz="quarter" idx="1"/>
          </p:nvPr>
        </p:nvSpPr>
        <p:spPr>
          <a:xfrm>
            <a:off x="681821" y="3445042"/>
            <a:ext cx="7771602" cy="1126103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1725">
                <a:solidFill>
                  <a:srgbClr val="888888"/>
                </a:solidFill>
              </a:defRPr>
            </a:lvl1pPr>
            <a:lvl2pPr marL="0" indent="320066">
              <a:buSzTx/>
              <a:buFontTx/>
              <a:buNone/>
              <a:defRPr sz="1725">
                <a:solidFill>
                  <a:srgbClr val="888888"/>
                </a:solidFill>
              </a:defRPr>
            </a:lvl2pPr>
            <a:lvl3pPr marL="0" indent="640131">
              <a:buSzTx/>
              <a:buFontTx/>
              <a:buNone/>
              <a:defRPr sz="1725">
                <a:solidFill>
                  <a:srgbClr val="888888"/>
                </a:solidFill>
              </a:defRPr>
            </a:lvl3pPr>
            <a:lvl4pPr marL="0" indent="960197">
              <a:buSzTx/>
              <a:buFontTx/>
              <a:buNone/>
              <a:defRPr sz="1725">
                <a:solidFill>
                  <a:srgbClr val="888888"/>
                </a:solidFill>
              </a:defRPr>
            </a:lvl4pPr>
            <a:lvl5pPr marL="0" indent="1280261">
              <a:buSzTx/>
              <a:buFontTx/>
              <a:buNone/>
              <a:defRPr sz="1725">
                <a:solidFill>
                  <a:srgbClr val="888888"/>
                </a:solidFill>
              </a:defRPr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161" name="Slayt Numarası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192550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53250"/>
            <a:ext cx="9144000" cy="389024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2134607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Başlık Metni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aşlık Metni</a:t>
            </a:r>
          </a:p>
        </p:txBody>
      </p:sp>
      <p:sp>
        <p:nvSpPr>
          <p:cNvPr id="169" name="Gövde Düzeyi Bir…"/>
          <p:cNvSpPr txBox="1">
            <a:spLocks noGrp="1"/>
          </p:cNvSpPr>
          <p:nvPr>
            <p:ph type="body" sz="half" idx="1"/>
          </p:nvPr>
        </p:nvSpPr>
        <p:spPr>
          <a:xfrm>
            <a:off x="686514" y="1370390"/>
            <a:ext cx="3829485" cy="3266295"/>
          </a:xfrm>
          <a:prstGeom prst="rect">
            <a:avLst/>
          </a:prstGeom>
        </p:spPr>
        <p:txBody>
          <a:bodyPr/>
          <a:lstStyle/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170" name="Slayt Numarası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1209288"/>
      </p:ext>
    </p:extLst>
  </p:cSld>
  <p:clrMapOvr>
    <a:masterClrMapping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Başlık Metni"/>
          <p:cNvSpPr txBox="1">
            <a:spLocks noGrp="1"/>
          </p:cNvSpPr>
          <p:nvPr>
            <p:ph type="title"/>
          </p:nvPr>
        </p:nvSpPr>
        <p:spPr>
          <a:xfrm>
            <a:off x="687687" y="274079"/>
            <a:ext cx="7771602" cy="995023"/>
          </a:xfrm>
          <a:prstGeom prst="rect">
            <a:avLst/>
          </a:prstGeom>
        </p:spPr>
        <p:txBody>
          <a:bodyPr/>
          <a:lstStyle/>
          <a:p>
            <a:r>
              <a:t>Başlık Metni</a:t>
            </a:r>
          </a:p>
        </p:txBody>
      </p:sp>
      <p:sp>
        <p:nvSpPr>
          <p:cNvPr id="178" name="Gövde Düzeyi Bir…"/>
          <p:cNvSpPr txBox="1">
            <a:spLocks noGrp="1"/>
          </p:cNvSpPr>
          <p:nvPr>
            <p:ph type="body" sz="quarter" idx="1"/>
          </p:nvPr>
        </p:nvSpPr>
        <p:spPr>
          <a:xfrm>
            <a:off x="687688" y="1261952"/>
            <a:ext cx="3811886" cy="618463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1725" b="1"/>
            </a:lvl1pPr>
            <a:lvl2pPr marL="0" indent="320066">
              <a:buSzTx/>
              <a:buFontTx/>
              <a:buNone/>
              <a:defRPr sz="1725" b="1"/>
            </a:lvl2pPr>
            <a:lvl3pPr marL="0" indent="640131">
              <a:buSzTx/>
              <a:buFontTx/>
              <a:buNone/>
              <a:defRPr sz="1725" b="1"/>
            </a:lvl3pPr>
            <a:lvl4pPr marL="0" indent="960197">
              <a:buSzTx/>
              <a:buFontTx/>
              <a:buNone/>
              <a:defRPr sz="1725" b="1"/>
            </a:lvl4pPr>
            <a:lvl5pPr marL="0" indent="1280261">
              <a:buSzTx/>
              <a:buFontTx/>
              <a:buNone/>
              <a:defRPr sz="1725" b="1"/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179" name="Metin Yer Tutucusu 4"/>
          <p:cNvSpPr>
            <a:spLocks noGrp="1"/>
          </p:cNvSpPr>
          <p:nvPr>
            <p:ph type="body" sz="quarter" idx="13"/>
          </p:nvPr>
        </p:nvSpPr>
        <p:spPr>
          <a:xfrm>
            <a:off x="4628631" y="1261952"/>
            <a:ext cx="3830658" cy="618463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4600" b="1"/>
            </a:lvl1pPr>
          </a:lstStyle>
          <a:p>
            <a:pPr marL="0" indent="0">
              <a:buSzTx/>
              <a:buFontTx/>
              <a:buNone/>
              <a:defRPr sz="4600" b="1"/>
            </a:pPr>
            <a:endParaRPr/>
          </a:p>
        </p:txBody>
      </p:sp>
      <p:sp>
        <p:nvSpPr>
          <p:cNvPr id="180" name="Slayt Numarası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19843031"/>
      </p:ext>
    </p:extLst>
  </p:cSld>
  <p:clrMapOvr>
    <a:masterClrMapping/>
  </p:clrMapOvr>
  <p:transition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Başlık Metni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aşlık Metni</a:t>
            </a:r>
          </a:p>
        </p:txBody>
      </p:sp>
      <p:sp>
        <p:nvSpPr>
          <p:cNvPr id="188" name="Slayt Numarası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415664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Slayt Numarası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91980595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Başlık Metni"/>
          <p:cNvSpPr txBox="1">
            <a:spLocks noGrp="1"/>
          </p:cNvSpPr>
          <p:nvPr>
            <p:ph type="title"/>
          </p:nvPr>
        </p:nvSpPr>
        <p:spPr>
          <a:xfrm>
            <a:off x="687688" y="343194"/>
            <a:ext cx="2906138" cy="1201177"/>
          </a:xfrm>
          <a:prstGeom prst="rect">
            <a:avLst/>
          </a:prstGeom>
        </p:spPr>
        <p:txBody>
          <a:bodyPr anchor="b"/>
          <a:lstStyle>
            <a:lvl1pPr>
              <a:defRPr sz="2325"/>
            </a:lvl1pPr>
          </a:lstStyle>
          <a:p>
            <a:r>
              <a:t>Başlık Metni</a:t>
            </a:r>
          </a:p>
        </p:txBody>
      </p:sp>
      <p:sp>
        <p:nvSpPr>
          <p:cNvPr id="203" name="Gövde Düzeyi Bir…"/>
          <p:cNvSpPr txBox="1">
            <a:spLocks noGrp="1"/>
          </p:cNvSpPr>
          <p:nvPr>
            <p:ph type="body" sz="half" idx="1"/>
          </p:nvPr>
        </p:nvSpPr>
        <p:spPr>
          <a:xfrm>
            <a:off x="3897697" y="741202"/>
            <a:ext cx="4561592" cy="3658346"/>
          </a:xfrm>
          <a:prstGeom prst="rect">
            <a:avLst/>
          </a:prstGeom>
        </p:spPr>
        <p:txBody>
          <a:bodyPr/>
          <a:lstStyle>
            <a:lvl1pPr marL="168170" indent="-168170">
              <a:defRPr sz="2325"/>
            </a:lvl1pPr>
            <a:lvl2pPr marL="510874" indent="-190808">
              <a:defRPr sz="2325"/>
            </a:lvl2pPr>
            <a:lvl3pPr marL="865631" indent="-225500">
              <a:defRPr sz="2325"/>
            </a:lvl3pPr>
            <a:lvl4pPr marL="1228358" indent="-268163">
              <a:defRPr sz="2325"/>
            </a:lvl4pPr>
            <a:lvl5pPr marL="1548424" indent="-268163">
              <a:defRPr sz="2325"/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204" name="Metin Yer Tutucusu 3"/>
          <p:cNvSpPr>
            <a:spLocks noGrp="1"/>
          </p:cNvSpPr>
          <p:nvPr>
            <p:ph type="body" sz="quarter" idx="13"/>
          </p:nvPr>
        </p:nvSpPr>
        <p:spPr>
          <a:xfrm>
            <a:off x="687688" y="1544370"/>
            <a:ext cx="2906138" cy="2861136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3000"/>
            </a:lvl1pPr>
          </a:lstStyle>
          <a:p>
            <a:pPr marL="0" indent="0">
              <a:buSzTx/>
              <a:buFontTx/>
              <a:buNone/>
              <a:defRPr sz="3000"/>
            </a:pPr>
            <a:endParaRPr/>
          </a:p>
        </p:txBody>
      </p:sp>
      <p:sp>
        <p:nvSpPr>
          <p:cNvPr id="205" name="Slayt Numarası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70478449"/>
      </p:ext>
    </p:extLst>
  </p:cSld>
  <p:clrMapOvr>
    <a:masterClrMapping/>
  </p:clrMapOvr>
  <p:transition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Başlık Metni"/>
          <p:cNvSpPr txBox="1">
            <a:spLocks noGrp="1"/>
          </p:cNvSpPr>
          <p:nvPr>
            <p:ph type="title"/>
          </p:nvPr>
        </p:nvSpPr>
        <p:spPr>
          <a:xfrm>
            <a:off x="687688" y="343194"/>
            <a:ext cx="2906138" cy="1201177"/>
          </a:xfrm>
          <a:prstGeom prst="rect">
            <a:avLst/>
          </a:prstGeom>
        </p:spPr>
        <p:txBody>
          <a:bodyPr anchor="b"/>
          <a:lstStyle>
            <a:lvl1pPr>
              <a:defRPr sz="2325"/>
            </a:lvl1pPr>
          </a:lstStyle>
          <a:p>
            <a:r>
              <a:t>Başlık Metni</a:t>
            </a:r>
          </a:p>
        </p:txBody>
      </p:sp>
      <p:sp>
        <p:nvSpPr>
          <p:cNvPr id="213" name="Resim Yer Tutucusu 2"/>
          <p:cNvSpPr>
            <a:spLocks noGrp="1"/>
          </p:cNvSpPr>
          <p:nvPr>
            <p:ph type="pic" sz="half" idx="13"/>
          </p:nvPr>
        </p:nvSpPr>
        <p:spPr>
          <a:xfrm>
            <a:off x="3897697" y="741202"/>
            <a:ext cx="4561592" cy="365834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14" name="Gövde Düzeyi Bir…"/>
          <p:cNvSpPr txBox="1">
            <a:spLocks noGrp="1"/>
          </p:cNvSpPr>
          <p:nvPr>
            <p:ph type="body" sz="quarter" idx="1"/>
          </p:nvPr>
        </p:nvSpPr>
        <p:spPr>
          <a:xfrm>
            <a:off x="687688" y="1544370"/>
            <a:ext cx="2906138" cy="2861136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1125"/>
            </a:lvl1pPr>
            <a:lvl2pPr marL="0" indent="320066">
              <a:buSzTx/>
              <a:buFontTx/>
              <a:buNone/>
              <a:defRPr sz="1125"/>
            </a:lvl2pPr>
            <a:lvl3pPr marL="0" indent="640131">
              <a:buSzTx/>
              <a:buFontTx/>
              <a:buNone/>
              <a:defRPr sz="1125"/>
            </a:lvl3pPr>
            <a:lvl4pPr marL="0" indent="960197">
              <a:buSzTx/>
              <a:buFontTx/>
              <a:buNone/>
              <a:defRPr sz="1125"/>
            </a:lvl4pPr>
            <a:lvl5pPr marL="0" indent="1280261">
              <a:buSzTx/>
              <a:buFontTx/>
              <a:buNone/>
              <a:defRPr sz="1125"/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215" name="Slayt Numarası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4776030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Başlık Metni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aşlık Metni</a:t>
            </a:r>
          </a:p>
        </p:txBody>
      </p:sp>
      <p:sp>
        <p:nvSpPr>
          <p:cNvPr id="223" name="Gövde Düzeyi Bir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224" name="Slayt Numarası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68867575"/>
      </p:ext>
    </p:extLst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Başlık Metni"/>
          <p:cNvSpPr txBox="1">
            <a:spLocks noGrp="1"/>
          </p:cNvSpPr>
          <p:nvPr>
            <p:ph type="title"/>
          </p:nvPr>
        </p:nvSpPr>
        <p:spPr>
          <a:xfrm>
            <a:off x="6515215" y="274079"/>
            <a:ext cx="1942901" cy="4362607"/>
          </a:xfrm>
          <a:prstGeom prst="rect">
            <a:avLst/>
          </a:prstGeom>
        </p:spPr>
        <p:txBody>
          <a:bodyPr/>
          <a:lstStyle/>
          <a:p>
            <a:r>
              <a:t>Başlık Metni</a:t>
            </a:r>
          </a:p>
        </p:txBody>
      </p:sp>
      <p:sp>
        <p:nvSpPr>
          <p:cNvPr id="232" name="Gövde Düzeyi Bir…"/>
          <p:cNvSpPr txBox="1">
            <a:spLocks noGrp="1"/>
          </p:cNvSpPr>
          <p:nvPr>
            <p:ph type="body" idx="1"/>
          </p:nvPr>
        </p:nvSpPr>
        <p:spPr>
          <a:xfrm>
            <a:off x="686514" y="274079"/>
            <a:ext cx="5716070" cy="4362607"/>
          </a:xfrm>
          <a:prstGeom prst="rect">
            <a:avLst/>
          </a:prstGeom>
        </p:spPr>
        <p:txBody>
          <a:bodyPr/>
          <a:lstStyle/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233" name="Slayt Numarası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02119042"/>
      </p:ext>
    </p:extLst>
  </p:cSld>
  <p:clrMapOvr>
    <a:masterClrMapping/>
  </p:clrMapOvr>
  <p:transition spd="med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Başlık Metni"/>
          <p:cNvSpPr txBox="1">
            <a:spLocks noGrp="1"/>
          </p:cNvSpPr>
          <p:nvPr>
            <p:ph type="title"/>
          </p:nvPr>
        </p:nvSpPr>
        <p:spPr>
          <a:xfrm>
            <a:off x="1193358" y="842493"/>
            <a:ext cx="6757915" cy="1792232"/>
          </a:xfrm>
          <a:prstGeom prst="rect">
            <a:avLst/>
          </a:prstGeom>
        </p:spPr>
        <p:txBody>
          <a:bodyPr anchor="b"/>
          <a:lstStyle>
            <a:lvl1pPr>
              <a:defRPr sz="4350"/>
            </a:lvl1pPr>
          </a:lstStyle>
          <a:p>
            <a:r>
              <a:t>Başlık Metni</a:t>
            </a:r>
          </a:p>
        </p:txBody>
      </p:sp>
      <p:sp>
        <p:nvSpPr>
          <p:cNvPr id="241" name="Gövde Düzeyi Bir…"/>
          <p:cNvSpPr txBox="1">
            <a:spLocks noGrp="1"/>
          </p:cNvSpPr>
          <p:nvPr>
            <p:ph type="body" sz="quarter" idx="1"/>
          </p:nvPr>
        </p:nvSpPr>
        <p:spPr>
          <a:xfrm>
            <a:off x="1193358" y="2703841"/>
            <a:ext cx="6757915" cy="1242884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</a:lvl1pPr>
            <a:lvl2pPr marL="0" indent="0" algn="ctr">
              <a:buSzTx/>
              <a:buFontTx/>
              <a:buNone/>
            </a:lvl2pPr>
            <a:lvl3pPr marL="0" indent="0" algn="ctr">
              <a:buSzTx/>
              <a:buFontTx/>
              <a:buNone/>
            </a:lvl3pPr>
            <a:lvl4pPr marL="0" indent="0" algn="ctr">
              <a:buSzTx/>
              <a:buFontTx/>
              <a:buNone/>
            </a:lvl4pPr>
            <a:lvl5pPr marL="0" indent="0" algn="ctr">
              <a:buSzTx/>
              <a:buFontTx/>
              <a:buNone/>
            </a:lvl5pPr>
          </a:lstStyle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242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423880" y="4885898"/>
            <a:ext cx="227320" cy="224435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04211366"/>
      </p:ext>
    </p:extLst>
  </p:cSld>
  <p:clrMapOvr>
    <a:masterClrMapping/>
  </p:clrMapOvr>
  <p:transition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Title Slide">
    <p:bg>
      <p:bgPr>
        <a:solidFill>
          <a:srgbClr val="2626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Picture Placeholder 12"/>
          <p:cNvSpPr>
            <a:spLocks noGrp="1"/>
          </p:cNvSpPr>
          <p:nvPr>
            <p:ph type="pic" sz="half" idx="13"/>
          </p:nvPr>
        </p:nvSpPr>
        <p:spPr>
          <a:xfrm>
            <a:off x="5280651" y="629727"/>
            <a:ext cx="2624909" cy="3892852"/>
          </a:xfrm>
          <a:prstGeom prst="rect">
            <a:avLst/>
          </a:prstGeom>
          <a:effectLst>
            <a:outerShdw blurRad="800100" dist="152400" dir="5400000" rotWithShape="0">
              <a:srgbClr val="000000">
                <a:alpha val="40000"/>
              </a:srgbClr>
            </a:outerShdw>
          </a:effectLst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50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41371" y="4586548"/>
            <a:ext cx="558830" cy="552738"/>
          </a:xfrm>
          <a:prstGeom prst="rect">
            <a:avLst/>
          </a:prstGeom>
        </p:spPr>
        <p:txBody>
          <a:bodyPr lIns="96531" tIns="96531" rIns="96531" bIns="96531"/>
          <a:lstStyle>
            <a:lvl1pPr defTabSz="675866">
              <a:defRPr sz="2325">
                <a:solidFill>
                  <a:srgbClr val="D9D9D9"/>
                </a:solidFill>
                <a:latin typeface="Montserrat Hairline"/>
                <a:ea typeface="Montserrat Hairline"/>
                <a:cs typeface="Montserrat Hairline"/>
                <a:sym typeface="Montserrat Hairline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4226958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gi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image" Target="../media/image1.gif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slideLayout" Target="../slideLayouts/slideLayout73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9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42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41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slideLayout" Target="../slideLayouts/slideLayout111.xml"/><Relationship Id="rId40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Relationship Id="rId43" Type="http://schemas.openxmlformats.org/officeDocument/2006/relationships/theme" Target="../theme/theme6.xml"/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slideLayout" Target="../slideLayouts/slideLayout11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9" y="411164"/>
            <a:ext cx="431800" cy="43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933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807" r:id="rId2"/>
    <p:sldLayoutId id="2147483711" r:id="rId3"/>
    <p:sldLayoutId id="2147483707" r:id="rId4"/>
    <p:sldLayoutId id="2147483710" r:id="rId5"/>
    <p:sldLayoutId id="2147483805" r:id="rId6"/>
    <p:sldLayoutId id="2147483714" r:id="rId7"/>
    <p:sldLayoutId id="2147483716" r:id="rId8"/>
    <p:sldLayoutId id="2147483713" r:id="rId9"/>
    <p:sldLayoutId id="2147483708" r:id="rId10"/>
    <p:sldLayoutId id="2147483715" r:id="rId11"/>
    <p:sldLayoutId id="2147483717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8455" y="1828800"/>
            <a:ext cx="8229600" cy="2877678"/>
          </a:xfrm>
          <a:prstGeom prst="rect">
            <a:avLst/>
          </a:prstGeom>
        </p:spPr>
        <p:txBody>
          <a:bodyPr vert="horz" lIns="91440" tIns="45720" rIns="91440" bIns="45720" numCol="3" spcCol="14400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891779"/>
            <a:ext cx="8229600" cy="76540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JM" dirty="0"/>
          </a:p>
        </p:txBody>
      </p:sp>
    </p:spTree>
    <p:extLst>
      <p:ext uri="{BB962C8B-B14F-4D97-AF65-F5344CB8AC3E}">
        <p14:creationId xmlns:p14="http://schemas.microsoft.com/office/powerpoint/2010/main" val="2319890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4400" b="0" i="0" kern="1200">
          <a:solidFill>
            <a:schemeClr val="tx2"/>
          </a:solidFill>
          <a:latin typeface="Arial" charset="0"/>
          <a:ea typeface="Arial" charset="0"/>
          <a:cs typeface="Arial" charset="0"/>
        </a:defRPr>
      </a:lvl1pPr>
    </p:titleStyle>
    <p:bodyStyle>
      <a:lvl1pPr marL="92075" indent="-92075" algn="l" defTabSz="685800" rtl="0" eaLnBrk="1" latinLnBrk="0" hangingPunct="1">
        <a:lnSpc>
          <a:spcPct val="120000"/>
        </a:lnSpc>
        <a:spcBef>
          <a:spcPct val="20000"/>
        </a:spcBef>
        <a:buClr>
          <a:srgbClr val="DF1E2F"/>
        </a:buClr>
        <a:buSzPct val="135000"/>
        <a:buFont typeface="Arial" charset="0"/>
        <a:buChar char="•"/>
        <a:tabLst/>
        <a:defRPr sz="900" b="1" i="0" kern="1200">
          <a:solidFill>
            <a:srgbClr val="FF0000"/>
          </a:solidFill>
          <a:latin typeface="Arial" charset="0"/>
          <a:ea typeface="Arial" charset="0"/>
          <a:cs typeface="Arial" charset="0"/>
        </a:defRPr>
      </a:lvl1pPr>
      <a:lvl2pPr marL="317500" indent="-93663" algn="l" defTabSz="685800" rtl="0" eaLnBrk="1" latinLnBrk="0" hangingPunct="1">
        <a:lnSpc>
          <a:spcPct val="120000"/>
        </a:lnSpc>
        <a:spcBef>
          <a:spcPct val="20000"/>
        </a:spcBef>
        <a:buClr>
          <a:srgbClr val="28BCB4"/>
        </a:buClr>
        <a:buSzPct val="100000"/>
        <a:buFont typeface="Wingdings" charset="2"/>
        <a:buChar char="§"/>
        <a:tabLst/>
        <a:defRPr sz="900" b="0" i="0" kern="1200">
          <a:solidFill>
            <a:schemeClr val="tx1">
              <a:lumMod val="85000"/>
              <a:lumOff val="15000"/>
            </a:schemeClr>
          </a:solidFill>
          <a:latin typeface="Arial" charset="0"/>
          <a:ea typeface="Arial" charset="0"/>
          <a:cs typeface="Arial" charset="0"/>
        </a:defRPr>
      </a:lvl2pPr>
      <a:lvl3pPr marL="857250" indent="-171450" algn="l" defTabSz="685800" rtl="0" eaLnBrk="1" latinLnBrk="0" hangingPunct="1">
        <a:lnSpc>
          <a:spcPct val="120000"/>
        </a:lnSpc>
        <a:spcBef>
          <a:spcPct val="20000"/>
        </a:spcBef>
        <a:buClr>
          <a:schemeClr val="accent2"/>
        </a:buClr>
        <a:buFont typeface="Wingdings" charset="2"/>
        <a:buChar char="§"/>
        <a:defRPr sz="1200" b="0" i="0" kern="1200">
          <a:solidFill>
            <a:schemeClr val="tx1">
              <a:lumMod val="85000"/>
              <a:lumOff val="15000"/>
            </a:schemeClr>
          </a:solidFill>
          <a:latin typeface="Arial" charset="0"/>
          <a:ea typeface="Arial" charset="0"/>
          <a:cs typeface="Arial" charset="0"/>
        </a:defRPr>
      </a:lvl3pPr>
      <a:lvl4pPr marL="1200150" indent="-171450" algn="l" defTabSz="685800" rtl="0" eaLnBrk="1" latinLnBrk="0" hangingPunct="1">
        <a:lnSpc>
          <a:spcPct val="120000"/>
        </a:lnSpc>
        <a:spcBef>
          <a:spcPct val="20000"/>
        </a:spcBef>
        <a:buClr>
          <a:schemeClr val="accent2"/>
        </a:buClr>
        <a:buFont typeface="Wingdings" charset="2"/>
        <a:buChar char="§"/>
        <a:defRPr sz="1050" b="0" i="0" kern="1200">
          <a:solidFill>
            <a:schemeClr val="tx1">
              <a:lumMod val="85000"/>
              <a:lumOff val="15000"/>
            </a:schemeClr>
          </a:solidFill>
          <a:latin typeface="Arial" charset="0"/>
          <a:ea typeface="Arial" charset="0"/>
          <a:cs typeface="Arial" charset="0"/>
        </a:defRPr>
      </a:lvl4pPr>
      <a:lvl5pPr marL="1543050" indent="-171450" algn="l" defTabSz="685800" rtl="0" eaLnBrk="1" latinLnBrk="0" hangingPunct="1">
        <a:lnSpc>
          <a:spcPct val="120000"/>
        </a:lnSpc>
        <a:spcBef>
          <a:spcPct val="20000"/>
        </a:spcBef>
        <a:buClr>
          <a:schemeClr val="accent2"/>
        </a:buClr>
        <a:buFont typeface="Wingdings" charset="2"/>
        <a:buChar char="§"/>
        <a:defRPr sz="1050" b="0" i="0" kern="1200">
          <a:solidFill>
            <a:schemeClr val="tx1">
              <a:lumMod val="85000"/>
              <a:lumOff val="15000"/>
            </a:schemeClr>
          </a:solidFill>
          <a:latin typeface="Arial" charset="0"/>
          <a:ea typeface="Arial" charset="0"/>
          <a:cs typeface="Arial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28625" y="4711700"/>
            <a:ext cx="2757488" cy="714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>
              <a:latin typeface="Arial Narrow" panose="020B060602020203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186113" y="4711700"/>
            <a:ext cx="2757488" cy="71438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>
              <a:latin typeface="Arial Narrow" panose="020B060602020203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943601" y="4711700"/>
            <a:ext cx="2757488" cy="71438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>
              <a:latin typeface="Arial Narrow" panose="020B0606020202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9" y="411164"/>
            <a:ext cx="431800" cy="43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070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31" r:id="rId15"/>
    <p:sldLayoutId id="2147483832" r:id="rId1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7347" y="4912243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56217" y="4911922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4289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  <p:sldLayoutId id="2147483873" r:id="rId16"/>
    <p:sldLayoutId id="2147483874" r:id="rId17"/>
  </p:sldLayoutIdLst>
  <p:hf hdr="0" dt="0"/>
  <p:txStyles>
    <p:titleStyle>
      <a:lvl1pPr marL="361950" indent="0"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12788" indent="-35083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989013" indent="-276225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1339850" indent="-2667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720850" indent="-2857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2082800" indent="-2857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7348" y="4912243"/>
            <a:ext cx="2840665" cy="159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dentity – Mobile Connect</a:t>
            </a:r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56218" y="4911922"/>
            <a:ext cx="326067" cy="161084"/>
          </a:xfrm>
          <a:prstGeom prst="rect">
            <a:avLst/>
          </a:prstGeom>
        </p:spPr>
        <p:txBody>
          <a:bodyPr anchor="ctr"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fld id="{BDDF6AA9-66E8-4EDF-BC96-A318BF818F5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4461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  <p:sldLayoutId id="2147483889" r:id="rId14"/>
    <p:sldLayoutId id="2147483890" r:id="rId15"/>
    <p:sldLayoutId id="2147483891" r:id="rId16"/>
    <p:sldLayoutId id="2147483892" r:id="rId17"/>
    <p:sldLayoutId id="2147483893" r:id="rId18"/>
    <p:sldLayoutId id="2147483894" r:id="rId19"/>
    <p:sldLayoutId id="2147483895" r:id="rId20"/>
    <p:sldLayoutId id="2147483896" r:id="rId21"/>
    <p:sldLayoutId id="2147483897" r:id="rId22"/>
    <p:sldLayoutId id="2147483898" r:id="rId23"/>
  </p:sldLayoutIdLst>
  <p:hf hdr="0" dt="0"/>
  <p:txStyles>
    <p:titleStyle>
      <a:lvl1pPr marL="361941" indent="0" algn="l" defTabSz="914378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12770" indent="-350829" algn="l" defTabSz="91437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988988" indent="-276218" algn="l" defTabSz="91437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1339817" indent="-266693" algn="l" defTabSz="91437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720807" indent="-285743" algn="l" defTabSz="91437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2082748" indent="-285743" algn="l" defTabSz="91437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Metni"/>
          <p:cNvSpPr txBox="1">
            <a:spLocks noGrp="1"/>
          </p:cNvSpPr>
          <p:nvPr>
            <p:ph type="title"/>
          </p:nvPr>
        </p:nvSpPr>
        <p:spPr>
          <a:xfrm>
            <a:off x="686514" y="274079"/>
            <a:ext cx="7771602" cy="9950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8267" tIns="48267" rIns="48267" bIns="48267" anchor="ctr">
            <a:normAutofit/>
          </a:bodyPr>
          <a:lstStyle/>
          <a:p>
            <a:r>
              <a:t>Başlık Metni</a:t>
            </a:r>
          </a:p>
        </p:txBody>
      </p:sp>
      <p:sp>
        <p:nvSpPr>
          <p:cNvPr id="3" name="Gövde Düzeyi Bir…"/>
          <p:cNvSpPr txBox="1">
            <a:spLocks noGrp="1"/>
          </p:cNvSpPr>
          <p:nvPr>
            <p:ph type="body" idx="1"/>
          </p:nvPr>
        </p:nvSpPr>
        <p:spPr>
          <a:xfrm>
            <a:off x="686514" y="1370390"/>
            <a:ext cx="7771602" cy="32662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8267" tIns="48267" rIns="48267" bIns="48267">
            <a:normAutofit/>
          </a:bodyPr>
          <a:lstStyle/>
          <a:p>
            <a:r>
              <a:t>Gövde Düzeyi Bir</a:t>
            </a:r>
          </a:p>
          <a:p>
            <a:pPr lvl="1"/>
            <a:r>
              <a:t>Gövde Düzeyi İki</a:t>
            </a:r>
          </a:p>
          <a:p>
            <a:pPr lvl="2"/>
            <a:r>
              <a:t>Gövde Düzeyi Üç</a:t>
            </a:r>
          </a:p>
          <a:p>
            <a:pPr lvl="3"/>
            <a:r>
              <a:t>Gövde Düzeyi Dört</a:t>
            </a:r>
          </a:p>
          <a:p>
            <a:pPr lvl="4"/>
            <a:r>
              <a:t>Gövde Düzeyi Beş</a:t>
            </a:r>
          </a:p>
        </p:txBody>
      </p:sp>
      <p:sp>
        <p:nvSpPr>
          <p:cNvPr id="4" name="Slayt Numarası"/>
          <p:cNvSpPr txBox="1">
            <a:spLocks noGrp="1"/>
          </p:cNvSpPr>
          <p:nvPr>
            <p:ph type="sldNum" sz="quarter" idx="2"/>
          </p:nvPr>
        </p:nvSpPr>
        <p:spPr>
          <a:xfrm>
            <a:off x="8230796" y="4796164"/>
            <a:ext cx="227320" cy="224435"/>
          </a:xfrm>
          <a:prstGeom prst="rect">
            <a:avLst/>
          </a:prstGeom>
          <a:ln w="12700">
            <a:miter lim="400000"/>
          </a:ln>
        </p:spPr>
        <p:txBody>
          <a:bodyPr wrap="none" lIns="48267" tIns="48267" rIns="48267" bIns="48267" anchor="ctr">
            <a:spAutoFit/>
          </a:bodyPr>
          <a:lstStyle>
            <a:lvl1pPr algn="r">
              <a:defRPr sz="825">
                <a:solidFill>
                  <a:srgbClr val="888888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6CB4B4D-7CA3-9044-876B-883B54F8677D}" type="slidenum">
              <a:rPr lang="en-GB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8265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1" r:id="rId12"/>
    <p:sldLayoutId id="2147483912" r:id="rId13"/>
    <p:sldLayoutId id="2147483913" r:id="rId14"/>
    <p:sldLayoutId id="2147483914" r:id="rId15"/>
    <p:sldLayoutId id="2147483915" r:id="rId16"/>
    <p:sldLayoutId id="2147483916" r:id="rId17"/>
    <p:sldLayoutId id="2147483917" r:id="rId18"/>
    <p:sldLayoutId id="2147483918" r:id="rId19"/>
    <p:sldLayoutId id="2147483919" r:id="rId20"/>
    <p:sldLayoutId id="2147483920" r:id="rId21"/>
    <p:sldLayoutId id="2147483921" r:id="rId22"/>
    <p:sldLayoutId id="2147483922" r:id="rId23"/>
    <p:sldLayoutId id="2147483923" r:id="rId24"/>
    <p:sldLayoutId id="2147483924" r:id="rId25"/>
    <p:sldLayoutId id="2147483925" r:id="rId26"/>
    <p:sldLayoutId id="2147483926" r:id="rId27"/>
    <p:sldLayoutId id="2147483927" r:id="rId28"/>
    <p:sldLayoutId id="2147483928" r:id="rId29"/>
    <p:sldLayoutId id="2147483929" r:id="rId30"/>
    <p:sldLayoutId id="2147483930" r:id="rId31"/>
    <p:sldLayoutId id="2147483931" r:id="rId32"/>
    <p:sldLayoutId id="2147483932" r:id="rId33"/>
    <p:sldLayoutId id="2147483933" r:id="rId34"/>
    <p:sldLayoutId id="2147483934" r:id="rId35"/>
    <p:sldLayoutId id="2147483935" r:id="rId36"/>
    <p:sldLayoutId id="2147483936" r:id="rId37"/>
    <p:sldLayoutId id="2147483937" r:id="rId38"/>
    <p:sldLayoutId id="2147483938" r:id="rId39"/>
    <p:sldLayoutId id="2147483939" r:id="rId40"/>
    <p:sldLayoutId id="2147483940" r:id="rId41"/>
    <p:sldLayoutId id="2147483941" r:id="rId42"/>
  </p:sldLayoutIdLst>
  <p:transition spd="med"/>
  <p:txStyles>
    <p:titleStyle>
      <a:lvl1pPr marL="0" marR="0" indent="0" algn="l" defTabSz="67579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0" algn="l" defTabSz="67579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67579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67579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67579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67579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67579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67579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67579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166187" marR="0" indent="-166187" algn="l" defTabSz="675797" rtl="0" latinLnBrk="0">
        <a:lnSpc>
          <a:spcPct val="90000"/>
        </a:lnSpc>
        <a:spcBef>
          <a:spcPts val="713"/>
        </a:spcBef>
        <a:spcAft>
          <a:spcPts val="0"/>
        </a:spcAft>
        <a:buClrTx/>
        <a:buSzPct val="100000"/>
        <a:buFont typeface="Arial"/>
        <a:buChar char="•"/>
        <a:tabLst/>
        <a:defRPr sz="20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1pPr>
      <a:lvl2pPr marL="516469" marR="0" indent="-196403" algn="l" defTabSz="675797" rtl="0" latinLnBrk="0">
        <a:lnSpc>
          <a:spcPct val="90000"/>
        </a:lnSpc>
        <a:spcBef>
          <a:spcPts val="713"/>
        </a:spcBef>
        <a:spcAft>
          <a:spcPts val="0"/>
        </a:spcAft>
        <a:buClrTx/>
        <a:buSzPct val="100000"/>
        <a:buFont typeface="Arial"/>
        <a:buChar char="•"/>
        <a:tabLst/>
        <a:defRPr sz="20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2pPr>
      <a:lvl3pPr marL="873692" marR="0" indent="-233561" algn="l" defTabSz="675797" rtl="0" latinLnBrk="0">
        <a:lnSpc>
          <a:spcPct val="90000"/>
        </a:lnSpc>
        <a:spcBef>
          <a:spcPts val="713"/>
        </a:spcBef>
        <a:spcAft>
          <a:spcPts val="0"/>
        </a:spcAft>
        <a:buClrTx/>
        <a:buSzPct val="100000"/>
        <a:buFont typeface="Arial"/>
        <a:buChar char="•"/>
        <a:tabLst/>
        <a:defRPr sz="20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3pPr>
      <a:lvl4pPr marL="1222067" marR="0" indent="-261871" algn="l" defTabSz="675797" rtl="0" latinLnBrk="0">
        <a:lnSpc>
          <a:spcPct val="90000"/>
        </a:lnSpc>
        <a:spcBef>
          <a:spcPts val="713"/>
        </a:spcBef>
        <a:spcAft>
          <a:spcPts val="0"/>
        </a:spcAft>
        <a:buClrTx/>
        <a:buSzPct val="100000"/>
        <a:buFont typeface="Arial"/>
        <a:buChar char="•"/>
        <a:tabLst/>
        <a:defRPr sz="20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4pPr>
      <a:lvl5pPr marL="1542132" marR="0" indent="-261871" algn="l" defTabSz="675797" rtl="0" latinLnBrk="0">
        <a:lnSpc>
          <a:spcPct val="90000"/>
        </a:lnSpc>
        <a:spcBef>
          <a:spcPts val="713"/>
        </a:spcBef>
        <a:spcAft>
          <a:spcPts val="0"/>
        </a:spcAft>
        <a:buClrTx/>
        <a:buSzPct val="100000"/>
        <a:buFont typeface="Arial"/>
        <a:buChar char="•"/>
        <a:tabLst/>
        <a:defRPr sz="20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5pPr>
      <a:lvl6pPr marL="1862198" marR="0" indent="-261871" algn="l" defTabSz="675797" rtl="0" latinLnBrk="0">
        <a:lnSpc>
          <a:spcPct val="90000"/>
        </a:lnSpc>
        <a:spcBef>
          <a:spcPts val="713"/>
        </a:spcBef>
        <a:spcAft>
          <a:spcPts val="0"/>
        </a:spcAft>
        <a:buClrTx/>
        <a:buSzPct val="100000"/>
        <a:buFont typeface="Arial"/>
        <a:buChar char="•"/>
        <a:tabLst/>
        <a:defRPr sz="20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6pPr>
      <a:lvl7pPr marL="2182263" marR="0" indent="-261871" algn="l" defTabSz="675797" rtl="0" latinLnBrk="0">
        <a:lnSpc>
          <a:spcPct val="90000"/>
        </a:lnSpc>
        <a:spcBef>
          <a:spcPts val="713"/>
        </a:spcBef>
        <a:spcAft>
          <a:spcPts val="0"/>
        </a:spcAft>
        <a:buClrTx/>
        <a:buSzPct val="100000"/>
        <a:buFont typeface="Arial"/>
        <a:buChar char="•"/>
        <a:tabLst/>
        <a:defRPr sz="20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7pPr>
      <a:lvl8pPr marL="2502329" marR="0" indent="-261871" algn="l" defTabSz="675797" rtl="0" latinLnBrk="0">
        <a:lnSpc>
          <a:spcPct val="90000"/>
        </a:lnSpc>
        <a:spcBef>
          <a:spcPts val="713"/>
        </a:spcBef>
        <a:spcAft>
          <a:spcPts val="0"/>
        </a:spcAft>
        <a:buClrTx/>
        <a:buSzPct val="100000"/>
        <a:buFont typeface="Arial"/>
        <a:buChar char="•"/>
        <a:tabLst/>
        <a:defRPr sz="20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8pPr>
      <a:lvl9pPr marL="2822394" marR="0" indent="-261871" algn="l" defTabSz="675797" rtl="0" latinLnBrk="0">
        <a:lnSpc>
          <a:spcPct val="90000"/>
        </a:lnSpc>
        <a:spcBef>
          <a:spcPts val="713"/>
        </a:spcBef>
        <a:spcAft>
          <a:spcPts val="0"/>
        </a:spcAft>
        <a:buClrTx/>
        <a:buSzPct val="100000"/>
        <a:buFont typeface="Arial"/>
        <a:buChar char="•"/>
        <a:tabLst/>
        <a:defRPr sz="2025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9pPr>
    </p:bodyStyle>
    <p:otherStyle>
      <a:lvl1pPr marL="0" marR="0" indent="0" algn="r" defTabSz="30674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0" algn="r" defTabSz="30674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r" defTabSz="30674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r" defTabSz="30674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r" defTabSz="30674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r" defTabSz="30674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r" defTabSz="30674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r" defTabSz="30674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r" defTabSz="30674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Medium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CE833F-72C6-4E40-811A-E324722C5EEE}" type="datetimeFigureOut">
              <a:rPr lang="en-GB" smtClean="0"/>
              <a:t>24/07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6E0750-846D-470C-BF56-7CE664437A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4647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7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9.xml"/><Relationship Id="rId5" Type="http://schemas.openxmlformats.org/officeDocument/2006/relationships/image" Target="file:///C:\Users\Chris\Documents\GMSA%20powerpoints\Mobile%20Connect%20-%20Marain%20Tort\Operators\infographic.png" TargetMode="External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0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0.png"/><Relationship Id="rId18" Type="http://schemas.openxmlformats.org/officeDocument/2006/relationships/image" Target="../media/image55.jpg"/><Relationship Id="rId26" Type="http://schemas.openxmlformats.org/officeDocument/2006/relationships/image" Target="../media/image63.jpg"/><Relationship Id="rId3" Type="http://schemas.openxmlformats.org/officeDocument/2006/relationships/image" Target="../media/image41.jpeg"/><Relationship Id="rId21" Type="http://schemas.openxmlformats.org/officeDocument/2006/relationships/image" Target="../media/image58.png"/><Relationship Id="rId34" Type="http://schemas.openxmlformats.org/officeDocument/2006/relationships/image" Target="../media/image71.png"/><Relationship Id="rId7" Type="http://schemas.openxmlformats.org/officeDocument/2006/relationships/image" Target="../media/image44.png"/><Relationship Id="rId12" Type="http://schemas.openxmlformats.org/officeDocument/2006/relationships/image" Target="../media/image49.jpg"/><Relationship Id="rId17" Type="http://schemas.openxmlformats.org/officeDocument/2006/relationships/image" Target="../media/image54.jpeg"/><Relationship Id="rId25" Type="http://schemas.openxmlformats.org/officeDocument/2006/relationships/image" Target="../media/image62.png"/><Relationship Id="rId33" Type="http://schemas.openxmlformats.org/officeDocument/2006/relationships/image" Target="../media/image70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53.png"/><Relationship Id="rId20" Type="http://schemas.openxmlformats.org/officeDocument/2006/relationships/image" Target="../media/image57.png"/><Relationship Id="rId29" Type="http://schemas.openxmlformats.org/officeDocument/2006/relationships/image" Target="../media/image66.png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24" Type="http://schemas.openxmlformats.org/officeDocument/2006/relationships/image" Target="../media/image61.png"/><Relationship Id="rId32" Type="http://schemas.openxmlformats.org/officeDocument/2006/relationships/image" Target="../media/image69.png"/><Relationship Id="rId5" Type="http://schemas.openxmlformats.org/officeDocument/2006/relationships/image" Target="../media/image42.png"/><Relationship Id="rId15" Type="http://schemas.openxmlformats.org/officeDocument/2006/relationships/image" Target="../media/image52.png"/><Relationship Id="rId23" Type="http://schemas.openxmlformats.org/officeDocument/2006/relationships/image" Target="../media/image60.jpg"/><Relationship Id="rId28" Type="http://schemas.openxmlformats.org/officeDocument/2006/relationships/image" Target="../media/image65.png"/><Relationship Id="rId10" Type="http://schemas.openxmlformats.org/officeDocument/2006/relationships/image" Target="../media/image47.png"/><Relationship Id="rId19" Type="http://schemas.openxmlformats.org/officeDocument/2006/relationships/image" Target="../media/image56.jpg"/><Relationship Id="rId31" Type="http://schemas.openxmlformats.org/officeDocument/2006/relationships/image" Target="../media/image68.png"/><Relationship Id="rId4" Type="http://schemas.openxmlformats.org/officeDocument/2006/relationships/chart" Target="../charts/chart1.xml"/><Relationship Id="rId9" Type="http://schemas.openxmlformats.org/officeDocument/2006/relationships/image" Target="../media/image46.png"/><Relationship Id="rId14" Type="http://schemas.openxmlformats.org/officeDocument/2006/relationships/image" Target="../media/image51.png"/><Relationship Id="rId22" Type="http://schemas.openxmlformats.org/officeDocument/2006/relationships/image" Target="../media/image59.png"/><Relationship Id="rId27" Type="http://schemas.openxmlformats.org/officeDocument/2006/relationships/image" Target="../media/image64.png"/><Relationship Id="rId30" Type="http://schemas.openxmlformats.org/officeDocument/2006/relationships/image" Target="../media/image67.gif"/><Relationship Id="rId8" Type="http://schemas.openxmlformats.org/officeDocument/2006/relationships/image" Target="../media/image4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6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2A9823-5A4B-F444-AFB9-8C462DC044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8520" y="3867894"/>
            <a:ext cx="8940800" cy="594986"/>
          </a:xfrm>
        </p:spPr>
        <p:txBody>
          <a:bodyPr/>
          <a:lstStyle/>
          <a:p>
            <a:pPr algn="r"/>
            <a:r>
              <a:rPr lang="en-US" dirty="0"/>
              <a:t>Operator Based Authentication</a:t>
            </a:r>
            <a:br>
              <a:rPr lang="en-US" dirty="0"/>
            </a:b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239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Personal Data – Mobile Connect</a:t>
            </a: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DF6AA9-66E8-4EDF-BC96-A318BF818F57}" type="slidenum"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range </a:t>
            </a:r>
            <a:r>
              <a:rPr lang="en-GB" dirty="0" err="1"/>
              <a:t>France:Digital</a:t>
            </a:r>
            <a:r>
              <a:rPr lang="en-GB" dirty="0"/>
              <a:t> transformation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840" y="2344050"/>
            <a:ext cx="3296472" cy="133041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44780" y="815639"/>
            <a:ext cx="3838651" cy="1449941"/>
          </a:xfrm>
          <a:prstGeom prst="rect">
            <a:avLst/>
          </a:prstGeom>
          <a:solidFill>
            <a:srgbClr val="9490B6"/>
          </a:solidFill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44779" y="887347"/>
            <a:ext cx="36944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500 public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services.All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 new public services must be delivered digitally through France Connect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8m registered citizens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C.180k-200k uses each day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44781" y="3820284"/>
            <a:ext cx="8648698" cy="786356"/>
          </a:xfrm>
          <a:prstGeom prst="rect">
            <a:avLst/>
          </a:prstGeom>
          <a:solidFill>
            <a:srgbClr val="9490B6"/>
          </a:solidFill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43840" y="3820284"/>
            <a:ext cx="85496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“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Orange sees digital identity as the key to unlocking value from digital </a:t>
            </a:r>
            <a:r>
              <a:rPr kumimoji="0" lang="en-GB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transformation.There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 is an ambitious vision for France Connect and we are delighted to have created a fully mobile proposition to support this vision.” 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Serge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Llorent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- Orange Mobile Connect Director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8264" y="1056602"/>
            <a:ext cx="5085736" cy="2417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8500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094" y="381000"/>
            <a:ext cx="8700905" cy="466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7763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372" y="380999"/>
            <a:ext cx="8654328" cy="4695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6430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 txBox="1">
            <a:spLocks/>
          </p:cNvSpPr>
          <p:nvPr/>
        </p:nvSpPr>
        <p:spPr>
          <a:xfrm>
            <a:off x="2707758" y="87840"/>
            <a:ext cx="5948314" cy="576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4400" b="0" i="0" kern="1200">
                <a:solidFill>
                  <a:srgbClr val="DE002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DE002B"/>
                </a:solidFill>
                <a:effectLst/>
                <a:uLnTx/>
                <a:uFillTx/>
                <a:latin typeface="Arial" charset="0"/>
                <a:cs typeface="Arial" charset="0"/>
              </a:rPr>
              <a:t>Mobile Connect Deployment</a:t>
            </a:r>
          </a:p>
        </p:txBody>
      </p:sp>
      <p:sp>
        <p:nvSpPr>
          <p:cNvPr id="13" name="Content Placeholder 9"/>
          <p:cNvSpPr txBox="1">
            <a:spLocks/>
          </p:cNvSpPr>
          <p:nvPr/>
        </p:nvSpPr>
        <p:spPr>
          <a:xfrm>
            <a:off x="6454614" y="1067963"/>
            <a:ext cx="2434944" cy="34324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numCol="1" spcCol="144000" rtlCol="0" anchor="ctr">
            <a:normAutofit/>
          </a:bodyPr>
          <a:lstStyle>
            <a:lvl1pPr marL="92075" indent="-92075" algn="l" defTabSz="685800" rtl="0" eaLnBrk="1" latinLnBrk="0" hangingPunct="1">
              <a:lnSpc>
                <a:spcPct val="120000"/>
              </a:lnSpc>
              <a:spcBef>
                <a:spcPct val="20000"/>
              </a:spcBef>
              <a:buClr>
                <a:srgbClr val="DE002B"/>
              </a:buClr>
              <a:buSzPct val="135000"/>
              <a:buFont typeface="Arial" charset="0"/>
              <a:buChar char="•"/>
              <a:tabLst/>
              <a:defRPr sz="900" b="1" i="0" kern="1200" baseline="0">
                <a:solidFill>
                  <a:srgbClr val="DE002B"/>
                </a:solidFill>
                <a:latin typeface="Arial" charset="0"/>
                <a:ea typeface="Arial" charset="0"/>
                <a:cs typeface="Arial" charset="0"/>
              </a:defRPr>
            </a:lvl1pPr>
            <a:lvl2pPr marL="317500" indent="-93663" algn="l" defTabSz="685800" rtl="0" eaLnBrk="1" latinLnBrk="0" hangingPunct="1">
              <a:lnSpc>
                <a:spcPct val="120000"/>
              </a:lnSpc>
              <a:spcBef>
                <a:spcPct val="20000"/>
              </a:spcBef>
              <a:buClr>
                <a:srgbClr val="28BCB4"/>
              </a:buClr>
              <a:buSzPct val="100000"/>
              <a:buFont typeface="Wingdings" charset="2"/>
              <a:buChar char="§"/>
              <a:tabLst/>
              <a:defRPr sz="900" b="0" i="0" kern="1200" baseline="0">
                <a:solidFill>
                  <a:schemeClr val="accent5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857250" indent="-171450" algn="l" defTabSz="685800" rtl="0" eaLnBrk="1" latinLnBrk="0" hangingPunct="1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200150" indent="-171450" algn="l" defTabSz="685800" rtl="0" eaLnBrk="1" latinLnBrk="0" hangingPunct="1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05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543050" indent="-171450" algn="l" defTabSz="685800" rtl="0" eaLnBrk="1" latinLnBrk="0" hangingPunct="1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05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marR="0" lvl="0" indent="-92075" algn="l" defTabSz="6858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DE002B"/>
              </a:buClr>
              <a:buSzPct val="135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1D32"/>
                </a:solidFill>
                <a:effectLst/>
                <a:uLnTx/>
                <a:uFillTx/>
                <a:latin typeface="Arial" charset="0"/>
                <a:cs typeface="Arial" charset="0"/>
              </a:rPr>
              <a:t>516.8m monthly Mobile Connect active users with over 200 live services worldwide.</a:t>
            </a:r>
          </a:p>
          <a:p>
            <a:pPr marL="92075" marR="0" lvl="0" indent="-92075" algn="l" defTabSz="6858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DE002B"/>
              </a:buClr>
              <a:buSzPct val="135000"/>
              <a:buFont typeface="Arial" charset="0"/>
              <a:buChar char="•"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1D32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92075" marR="0" lvl="0" indent="-92075" algn="l" defTabSz="6858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DE002B"/>
              </a:buClr>
              <a:buSzPct val="135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1D32"/>
                </a:solidFill>
                <a:effectLst/>
                <a:uLnTx/>
                <a:uFillTx/>
                <a:latin typeface="Arial" charset="0"/>
                <a:cs typeface="Arial" charset="0"/>
              </a:rPr>
              <a:t>Project Verify unveiled by US carriers at MWC Los Angeles 2018.</a:t>
            </a:r>
          </a:p>
          <a:p>
            <a:pPr marL="92075" marR="0" lvl="0" indent="-92075" algn="l" defTabSz="6858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DE002B"/>
              </a:buClr>
              <a:buSzPct val="135000"/>
              <a:buFont typeface="Arial" charset="0"/>
              <a:buChar char="•"/>
              <a:tabLst/>
              <a:defRPr/>
            </a:pP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1D32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92075" marR="0" lvl="0" indent="-92075" algn="l" defTabSz="6858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DE002B"/>
              </a:buClr>
              <a:buSzPct val="135000"/>
              <a:buFont typeface="Arial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1D32"/>
                </a:solidFill>
                <a:effectLst/>
                <a:uLnTx/>
                <a:uFillTx/>
                <a:latin typeface="Arial" charset="0"/>
                <a:cs typeface="Arial" charset="0"/>
              </a:rPr>
              <a:t>No operators in the Caribbean have deployed mobile connect or similar identity services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425" y="1070902"/>
            <a:ext cx="6096851" cy="3429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6326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379234" y="397120"/>
            <a:ext cx="7664182" cy="421245"/>
          </a:xfrm>
        </p:spPr>
        <p:txBody>
          <a:bodyPr/>
          <a:lstStyle/>
          <a:p>
            <a:pPr marL="87307" indent="6350"/>
            <a:r>
              <a:rPr lang="en-GB" sz="2000" dirty="0">
                <a:solidFill>
                  <a:schemeClr val="bg1">
                    <a:lumMod val="50000"/>
                  </a:schemeClr>
                </a:solidFill>
              </a:rPr>
              <a:t>The global, mobile-operator facilitated, secure identity service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4294967295"/>
          </p:nvPr>
        </p:nvSpPr>
        <p:spPr>
          <a:xfrm>
            <a:off x="2996173" y="1106007"/>
            <a:ext cx="5870575" cy="2352675"/>
          </a:xfrm>
          <a:prstGeom prst="rect">
            <a:avLst/>
          </a:prstGeom>
        </p:spPr>
        <p:txBody>
          <a:bodyPr/>
          <a:lstStyle/>
          <a:p>
            <a:pPr marL="368294" indent="-285750">
              <a:spcBef>
                <a:spcPts val="400"/>
              </a:spcBef>
              <a:buSzPct val="150000"/>
            </a:pPr>
            <a:r>
              <a:rPr lang="en-GB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Mobile Connect </a:t>
            </a:r>
            <a:r>
              <a:rPr lang="en-US" sz="1400" dirty="0"/>
              <a:t>is a portfolio of mobile-based secure identity capabilities giving </a:t>
            </a:r>
            <a:r>
              <a:rPr lang="en-GB" sz="1400" b="1" dirty="0">
                <a:cs typeface="Times New Roman" panose="02020603050405020304" pitchFamily="18" charset="0"/>
              </a:rPr>
              <a:t>s</a:t>
            </a:r>
            <a:r>
              <a:rPr lang="en-GB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imple</a:t>
            </a:r>
            <a:r>
              <a:rPr lang="en-GB" sz="1400" dirty="0"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GB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secure</a:t>
            </a:r>
            <a:r>
              <a:rPr lang="en-GB" sz="1400" dirty="0"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en-GB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convenient</a:t>
            </a:r>
            <a:r>
              <a:rPr lang="en-GB" sz="1400" dirty="0">
                <a:ea typeface="Calibri" panose="020F0502020204030204" pitchFamily="34" charset="0"/>
                <a:cs typeface="Times New Roman" panose="02020603050405020304" pitchFamily="18" charset="0"/>
              </a:rPr>
              <a:t> access to online services</a:t>
            </a:r>
          </a:p>
          <a:p>
            <a:pPr marL="368295" indent="-285750">
              <a:spcBef>
                <a:spcPts val="400"/>
              </a:spcBef>
            </a:pPr>
            <a:endParaRPr lang="en-GB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68294" indent="-285750">
              <a:spcBef>
                <a:spcPts val="400"/>
              </a:spcBef>
              <a:buSzPct val="150000"/>
            </a:pPr>
            <a:r>
              <a:rPr lang="en-GB" sz="1400" dirty="0">
                <a:ea typeface="Calibri" panose="020F0502020204030204" pitchFamily="34" charset="0"/>
                <a:cs typeface="Times New Roman" panose="02020603050405020304" pitchFamily="18" charset="0"/>
              </a:rPr>
              <a:t>Combines the user’s unique mobile number and optional PIN to:</a:t>
            </a:r>
          </a:p>
          <a:p>
            <a:pPr marL="676258" indent="-314318"/>
            <a:r>
              <a:rPr lang="en-GB" sz="1400" dirty="0"/>
              <a:t>Simple and ubiquitous </a:t>
            </a:r>
            <a:r>
              <a:rPr lang="en-GB" sz="1400" b="1" dirty="0"/>
              <a:t>log-in</a:t>
            </a:r>
            <a:r>
              <a:rPr lang="en-GB" sz="1400" dirty="0"/>
              <a:t> or</a:t>
            </a:r>
            <a:r>
              <a:rPr lang="en-GB" sz="1400" b="1" dirty="0"/>
              <a:t> step-up authentication  </a:t>
            </a:r>
          </a:p>
          <a:p>
            <a:pPr marL="676258" lvl="1" indent="-314318">
              <a:spcBef>
                <a:spcPts val="400"/>
              </a:spcBef>
            </a:pPr>
            <a:r>
              <a:rPr lang="en-GB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Verify</a:t>
            </a:r>
            <a:r>
              <a:rPr lang="en-GB" sz="1400" dirty="0">
                <a:ea typeface="Calibri" panose="020F0502020204030204" pitchFamily="34" charset="0"/>
                <a:cs typeface="Times New Roman" panose="02020603050405020304" pitchFamily="18" charset="0"/>
              </a:rPr>
              <a:t> or provide user identity</a:t>
            </a:r>
          </a:p>
          <a:p>
            <a:pPr marL="676258" lvl="1" indent="-314318">
              <a:spcBef>
                <a:spcPts val="400"/>
              </a:spcBef>
            </a:pPr>
            <a:r>
              <a:rPr lang="en-GB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Confirm insights </a:t>
            </a:r>
            <a:r>
              <a:rPr lang="en-GB" sz="1400" dirty="0">
                <a:ea typeface="Calibri" panose="020F0502020204030204" pitchFamily="34" charset="0"/>
                <a:cs typeface="Times New Roman" panose="02020603050405020304" pitchFamily="18" charset="0"/>
              </a:rPr>
              <a:t>about user’s mobile account or device</a:t>
            </a:r>
          </a:p>
          <a:p>
            <a:pPr marL="676258" lvl="1" indent="-314318">
              <a:spcBef>
                <a:spcPts val="400"/>
              </a:spcBef>
            </a:pPr>
            <a:r>
              <a:rPr lang="en-GB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Authorise</a:t>
            </a:r>
            <a:r>
              <a:rPr lang="en-GB" sz="1400" dirty="0">
                <a:ea typeface="Calibri" panose="020F0502020204030204" pitchFamily="34" charset="0"/>
                <a:cs typeface="Times New Roman" panose="02020603050405020304" pitchFamily="18" charset="0"/>
              </a:rPr>
              <a:t> digital transactions and payments</a:t>
            </a:r>
          </a:p>
          <a:p>
            <a:pPr marL="676258" lvl="1" indent="-314318">
              <a:spcBef>
                <a:spcPts val="400"/>
              </a:spcBef>
            </a:pPr>
            <a:endParaRPr lang="en-GB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2927" y="2181911"/>
            <a:ext cx="2112045" cy="2553541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1B31E650-7E4A-48A1-86F0-3AAD7F551012}"/>
              </a:ext>
            </a:extLst>
          </p:cNvPr>
          <p:cNvGrpSpPr/>
          <p:nvPr/>
        </p:nvGrpSpPr>
        <p:grpSpPr>
          <a:xfrm>
            <a:off x="428625" y="4711702"/>
            <a:ext cx="8272464" cy="71438"/>
            <a:chOff x="428625" y="4711700"/>
            <a:chExt cx="8272464" cy="7143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C313E73-2CB9-4871-9429-C8AAB5221DA5}"/>
                </a:ext>
              </a:extLst>
            </p:cNvPr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rgbClr val="55517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1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55517B"/>
                </a:solidFill>
                <a:effectLst/>
                <a:uLnTx/>
                <a:uFillTx/>
                <a:latin typeface="Times New Roman"/>
                <a:ea typeface="ＭＳ Ｐゴシック" charset="0"/>
                <a:cs typeface="Arial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35D229A-3ADE-43A7-B5F8-E6468BC3633E}"/>
                </a:ext>
              </a:extLst>
            </p:cNvPr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FF66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1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ＭＳ Ｐゴシック" charset="0"/>
                <a:cs typeface="Arial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AA082BB-1FC6-419D-B3B2-67A8100854FF}"/>
                </a:ext>
              </a:extLst>
            </p:cNvPr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00A6C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1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ＭＳ Ｐゴシック" charset="0"/>
                <a:cs typeface="Arial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7E9CBD4-9538-014F-A888-A717F4C1DBCA}"/>
              </a:ext>
            </a:extLst>
          </p:cNvPr>
          <p:cNvGrpSpPr/>
          <p:nvPr/>
        </p:nvGrpSpPr>
        <p:grpSpPr>
          <a:xfrm>
            <a:off x="428625" y="1310726"/>
            <a:ext cx="2423579" cy="875414"/>
            <a:chOff x="732908" y="4328060"/>
            <a:chExt cx="4934650" cy="1782432"/>
          </a:xfrm>
        </p:grpSpPr>
        <p:sp>
          <p:nvSpPr>
            <p:cNvPr id="16" name="Footer Placeholder 8">
              <a:extLst>
                <a:ext uri="{FF2B5EF4-FFF2-40B4-BE49-F238E27FC236}">
                  <a16:creationId xmlns:a16="http://schemas.microsoft.com/office/drawing/2014/main" id="{4CEC5669-20DA-1C4E-AB0E-FF58298DF776}"/>
                </a:ext>
              </a:extLst>
            </p:cNvPr>
            <p:cNvSpPr txBox="1">
              <a:spLocks/>
            </p:cNvSpPr>
            <p:nvPr/>
          </p:nvSpPr>
          <p:spPr>
            <a:xfrm>
              <a:off x="2107630" y="5726921"/>
              <a:ext cx="3559928" cy="38357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lang="en-GB" sz="816" b="0" kern="1200">
                  <a:solidFill>
                    <a:schemeClr val="bg1"/>
                  </a:solidFill>
                  <a:latin typeface="+mj-lt"/>
                  <a:ea typeface="ＭＳ Ｐゴシック" charset="0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5pPr>
              <a:lvl6pPr marL="22860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6pPr>
              <a:lvl7pPr marL="27432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7pPr>
              <a:lvl8pPr marL="32004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8pPr>
              <a:lvl9pPr marL="3657600" algn="l" defTabSz="4572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9pPr>
            </a:lstStyle>
            <a:p>
              <a:pPr marL="0" marR="0" lvl="0" indent="0" algn="l" defTabSz="91435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12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Gotham Light" pitchFamily="2" charset="0"/>
                </a:rPr>
                <a:t>Sources: </a:t>
              </a:r>
              <a:r>
                <a:rPr kumimoji="0" lang="en-GB" sz="61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Gotham Light" pitchFamily="2" charset="0"/>
                </a:rPr>
                <a:t>GSMA Consumer Research 2015, Cyber Streetwise</a:t>
              </a: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B26D2D45-6A6E-6D40-877C-8389811E4BC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r:link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2908" y="4328060"/>
              <a:ext cx="4556769" cy="1289307"/>
            </a:xfrm>
            <a:prstGeom prst="rect">
              <a:avLst/>
            </a:prstGeom>
          </p:spPr>
        </p:pic>
      </p:grpSp>
      <p:sp>
        <p:nvSpPr>
          <p:cNvPr id="22" name="Footer Placeholder 8">
            <a:extLst>
              <a:ext uri="{FF2B5EF4-FFF2-40B4-BE49-F238E27FC236}">
                <a16:creationId xmlns:a16="http://schemas.microsoft.com/office/drawing/2014/main" id="{8E8B8277-0C2B-CB4E-8003-EBF1565F255C}"/>
              </a:ext>
            </a:extLst>
          </p:cNvPr>
          <p:cNvSpPr txBox="1">
            <a:spLocks/>
          </p:cNvSpPr>
          <p:nvPr/>
        </p:nvSpPr>
        <p:spPr>
          <a:xfrm>
            <a:off x="7252288" y="4601702"/>
            <a:ext cx="1499828" cy="769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816" b="0" kern="1200">
                <a:solidFill>
                  <a:schemeClr val="bg1"/>
                </a:solidFill>
                <a:latin typeface="+mj-lt"/>
                <a:ea typeface="ＭＳ Ｐゴシック" charset="0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pPr marL="0" marR="0" lvl="0" indent="0" algn="l" defTabSz="9143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1" i="0" u="none" strike="noStrike" kern="1200" cap="none" spc="0" normalizeH="0" baseline="0" noProof="0" dirty="0">
                <a:ln>
                  <a:noFill/>
                </a:ln>
                <a:solidFill>
                  <a:srgbClr val="55517B">
                    <a:lumMod val="75000"/>
                  </a:srgbClr>
                </a:solidFill>
                <a:effectLst/>
                <a:uLnTx/>
                <a:uFillTx/>
                <a:latin typeface="Arial"/>
                <a:ea typeface="ＭＳ Ｐゴシック" charset="0"/>
                <a:cs typeface="Gotham Light" pitchFamily="2" charset="0"/>
              </a:rPr>
              <a:t>Sources: </a:t>
            </a:r>
            <a:r>
              <a:rPr kumimoji="0" lang="en-GB" sz="500" b="0" i="0" u="none" strike="noStrike" kern="1200" cap="none" spc="0" normalizeH="0" baseline="0" noProof="0" dirty="0">
                <a:ln>
                  <a:noFill/>
                </a:ln>
                <a:solidFill>
                  <a:srgbClr val="55517B">
                    <a:lumMod val="75000"/>
                  </a:srgbClr>
                </a:solidFill>
                <a:effectLst/>
                <a:uLnTx/>
                <a:uFillTx/>
                <a:latin typeface="Arial"/>
                <a:ea typeface="ＭＳ Ｐゴシック" charset="0"/>
                <a:cs typeface="Gotham Light" pitchFamily="2" charset="0"/>
              </a:rPr>
              <a:t>GSMA Consumer Research 2015, KRC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755FF12-4665-7042-AF7E-8D4214AE4914}"/>
              </a:ext>
            </a:extLst>
          </p:cNvPr>
          <p:cNvGrpSpPr/>
          <p:nvPr/>
        </p:nvGrpSpPr>
        <p:grpSpPr>
          <a:xfrm>
            <a:off x="3186113" y="4020148"/>
            <a:ext cx="5042901" cy="310175"/>
            <a:chOff x="-54150" y="2730035"/>
            <a:chExt cx="5032642" cy="683148"/>
          </a:xfrm>
        </p:grpSpPr>
        <p:sp>
          <p:nvSpPr>
            <p:cNvPr id="24" name="Rounded Rectangle 23">
              <a:extLst>
                <a:ext uri="{FF2B5EF4-FFF2-40B4-BE49-F238E27FC236}">
                  <a16:creationId xmlns:a16="http://schemas.microsoft.com/office/drawing/2014/main" id="{EEC957D2-CAE0-5947-8634-B54E291E7BE6}"/>
                </a:ext>
              </a:extLst>
            </p:cNvPr>
            <p:cNvSpPr/>
            <p:nvPr/>
          </p:nvSpPr>
          <p:spPr>
            <a:xfrm>
              <a:off x="392735" y="2730035"/>
              <a:ext cx="4585757" cy="683148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268CD4F-8220-ED42-8D00-211EF88DCD66}"/>
                </a:ext>
              </a:extLst>
            </p:cNvPr>
            <p:cNvSpPr/>
            <p:nvPr/>
          </p:nvSpPr>
          <p:spPr>
            <a:xfrm>
              <a:off x="-54150" y="2753197"/>
              <a:ext cx="3186313" cy="636825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514359" tIns="0" rIns="244933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0953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433E63"/>
                  </a:solidFill>
                  <a:effectLst/>
                  <a:uLnTx/>
                  <a:uFillTx/>
                  <a:latin typeface="Arial"/>
                  <a:ea typeface=""/>
                  <a:cs typeface="Arial" panose="020B0604020202020204" pitchFamily="34" charset="0"/>
                </a:rPr>
                <a:t>68%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54590DA-D27A-D443-B289-8C3F8AB8519D}"/>
                </a:ext>
              </a:extLst>
            </p:cNvPr>
            <p:cNvSpPr txBox="1"/>
            <p:nvPr/>
          </p:nvSpPr>
          <p:spPr>
            <a:xfrm flipH="1">
              <a:off x="952258" y="2932699"/>
              <a:ext cx="3910771" cy="3050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70953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54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433E63"/>
                  </a:solidFill>
                  <a:effectLst/>
                  <a:uLnTx/>
                  <a:uFillTx/>
                  <a:latin typeface="Arial"/>
                  <a:ea typeface=""/>
                  <a:cs typeface="Arial" panose="020B0604020202020204" pitchFamily="34" charset="0"/>
                </a:rPr>
                <a:t>of users say forgetting passwords  is a significant problem</a:t>
              </a:r>
            </a:p>
          </p:txBody>
        </p:sp>
      </p:grp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350287E-258C-E946-B2BE-76B94465D5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1144" y="4891901"/>
            <a:ext cx="2840665" cy="159488"/>
          </a:xfrm>
        </p:spPr>
        <p:txBody>
          <a:bodyPr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 charset="0"/>
              </a:rPr>
              <a:t>Identity – Mobile Connect</a:t>
            </a: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 charset="0"/>
            </a:endParaRPr>
          </a:p>
        </p:txBody>
      </p:sp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283B3012-2E15-CE45-8219-3E26210EDF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014" y="4891580"/>
            <a:ext cx="326067" cy="161084"/>
          </a:xfrm>
        </p:spPr>
        <p:txBody>
          <a:bodyPr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fld id="{BDDF6AA9-66E8-4EDF-BC96-A318BF818F57}" type="slidenum"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 charset="0"/>
              </a:rPr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25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3592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 charset="0"/>
              </a:rPr>
              <a:t>Identity – Mobile Connect</a:t>
            </a:r>
          </a:p>
        </p:txBody>
      </p:sp>
      <p:sp>
        <p:nvSpPr>
          <p:cNvPr id="21" name="Title 3"/>
          <p:cNvSpPr>
            <a:spLocks noGrp="1"/>
          </p:cNvSpPr>
          <p:nvPr>
            <p:ph type="title"/>
          </p:nvPr>
        </p:nvSpPr>
        <p:spPr>
          <a:xfrm>
            <a:off x="1464732" y="427431"/>
            <a:ext cx="7450668" cy="387006"/>
          </a:xfrm>
        </p:spPr>
        <p:txBody>
          <a:bodyPr/>
          <a:lstStyle/>
          <a:p>
            <a:r>
              <a:rPr lang="en-GB" dirty="0"/>
              <a:t>Mobile Connect Services </a:t>
            </a:r>
            <a:r>
              <a:rPr lang="en-GB" sz="1400" dirty="0"/>
              <a:t>(defined &amp; supported by GSMA)</a:t>
            </a:r>
            <a:endParaRPr lang="en-GB" dirty="0"/>
          </a:p>
        </p:txBody>
      </p:sp>
      <p:sp>
        <p:nvSpPr>
          <p:cNvPr id="41" name="Rectangle 40"/>
          <p:cNvSpPr/>
          <p:nvPr/>
        </p:nvSpPr>
        <p:spPr>
          <a:xfrm>
            <a:off x="998236" y="1064406"/>
            <a:ext cx="1938866" cy="320054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/>
              </a:rPr>
              <a:t>Authentication</a:t>
            </a:r>
          </a:p>
        </p:txBody>
      </p:sp>
      <p:sp>
        <p:nvSpPr>
          <p:cNvPr id="42" name="Rectangle 41"/>
          <p:cNvSpPr/>
          <p:nvPr/>
        </p:nvSpPr>
        <p:spPr>
          <a:xfrm>
            <a:off x="6678314" y="1048920"/>
            <a:ext cx="1932083" cy="323747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/>
              </a:rPr>
              <a:t>Network attribute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3840583" y="1048920"/>
            <a:ext cx="1935900" cy="323749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Calibri"/>
              </a:rPr>
              <a:t>Identity</a:t>
            </a:r>
          </a:p>
        </p:txBody>
      </p:sp>
      <p:sp>
        <p:nvSpPr>
          <p:cNvPr id="40" name="Content Placeholder 2"/>
          <p:cNvSpPr txBox="1">
            <a:spLocks/>
          </p:cNvSpPr>
          <p:nvPr/>
        </p:nvSpPr>
        <p:spPr>
          <a:xfrm>
            <a:off x="996586" y="1387387"/>
            <a:ext cx="1935566" cy="2155679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108000" anchor="t"/>
          <a:lstStyle>
            <a:lvl1pPr marL="712788" indent="-3508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989013" indent="-2762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339850" indent="-2667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7208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8280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2546" marR="0" lvl="0" indent="0" algn="ctr" defTabSz="914378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5517B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A6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mple and convenient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A6C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g-in or step-up authentication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A6C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6678314" y="1374910"/>
            <a:ext cx="1935900" cy="2165212"/>
          </a:xfrm>
          <a:custGeom>
            <a:avLst/>
            <a:gdLst>
              <a:gd name="connsiteX0" fmla="*/ 0 w 1702577"/>
              <a:gd name="connsiteY0" fmla="*/ 0 h 1492408"/>
              <a:gd name="connsiteX1" fmla="*/ 1702577 w 1702577"/>
              <a:gd name="connsiteY1" fmla="*/ 0 h 1492408"/>
              <a:gd name="connsiteX2" fmla="*/ 1702577 w 1702577"/>
              <a:gd name="connsiteY2" fmla="*/ 1492408 h 1492408"/>
              <a:gd name="connsiteX3" fmla="*/ 0 w 1702577"/>
              <a:gd name="connsiteY3" fmla="*/ 1492408 h 1492408"/>
              <a:gd name="connsiteX4" fmla="*/ 0 w 1702577"/>
              <a:gd name="connsiteY4" fmla="*/ 0 h 1492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2577" h="1492408">
                <a:moveTo>
                  <a:pt x="0" y="0"/>
                </a:moveTo>
                <a:lnTo>
                  <a:pt x="1702577" y="0"/>
                </a:lnTo>
                <a:lnTo>
                  <a:pt x="1702577" y="1492408"/>
                </a:lnTo>
                <a:lnTo>
                  <a:pt x="0" y="1492408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1435" tIns="108000" rIns="51435" bIns="51435" numCol="1" spcCol="1270" anchor="t" anchorCtr="0">
            <a:noAutofit/>
          </a:bodyPr>
          <a:lstStyle/>
          <a:p>
            <a:pPr marL="0" marR="0" lvl="0" indent="0" algn="ctr" defTabSz="600045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D0921"/>
              </a:buClr>
              <a:buSzPct val="100000"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55517B"/>
                </a:solidFill>
                <a:effectLst/>
                <a:uLnTx/>
                <a:uFillTx/>
                <a:latin typeface="Arial" panose="020B0604020202020204" pitchFamily="34" charset="0"/>
                <a:ea typeface="Arial" pitchFamily="-110" charset="0"/>
                <a:cs typeface="Arial" panose="020B0604020202020204" pitchFamily="34" charset="0"/>
              </a:rPr>
              <a:t>Insights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55517B"/>
                </a:solidFill>
                <a:effectLst/>
                <a:uLnTx/>
                <a:uFillTx/>
                <a:latin typeface="Arial" panose="020B0604020202020204" pitchFamily="34" charset="0"/>
                <a:ea typeface="Arial" pitchFamily="-110" charset="0"/>
                <a:cs typeface="Arial" panose="020B0604020202020204" pitchFamily="34" charset="0"/>
              </a:rPr>
              <a:t> about the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55517B"/>
                </a:solidFill>
                <a:effectLst/>
                <a:uLnTx/>
                <a:uFillTx/>
                <a:latin typeface="Arial" panose="020B0604020202020204" pitchFamily="34" charset="0"/>
                <a:ea typeface="Arial" pitchFamily="-110" charset="0"/>
                <a:cs typeface="Arial" panose="020B0604020202020204" pitchFamily="34" charset="0"/>
              </a:rPr>
              <a:t>device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55517B"/>
                </a:solidFill>
                <a:effectLst/>
                <a:uLnTx/>
                <a:uFillTx/>
                <a:latin typeface="Arial" panose="020B0604020202020204" pitchFamily="34" charset="0"/>
                <a:ea typeface="Arial" pitchFamily="-110" charset="0"/>
                <a:cs typeface="Arial" panose="020B0604020202020204" pitchFamily="34" charset="0"/>
              </a:rPr>
              <a:t>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55517B"/>
                </a:solidFill>
                <a:effectLst/>
                <a:uLnTx/>
                <a:uFillTx/>
                <a:latin typeface="Arial" panose="020B0604020202020204" pitchFamily="34" charset="0"/>
                <a:ea typeface="Arial" pitchFamily="-110" charset="0"/>
                <a:cs typeface="Arial" panose="020B0604020202020204" pitchFamily="34" charset="0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55517B"/>
                </a:solidFill>
                <a:effectLst/>
                <a:uLnTx/>
                <a:uFillTx/>
                <a:latin typeface="Arial" panose="020B0604020202020204" pitchFamily="34" charset="0"/>
                <a:ea typeface="Arial" pitchFamily="-110" charset="0"/>
                <a:cs typeface="Arial" panose="020B0604020202020204" pitchFamily="34" charset="0"/>
              </a:rPr>
              <a:t>and user’s mobile account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55517B"/>
              </a:solidFill>
              <a:effectLst/>
              <a:uLnTx/>
              <a:uFillTx/>
              <a:latin typeface="Arial" panose="020B0604020202020204" pitchFamily="34" charset="0"/>
              <a:ea typeface="Arial" pitchFamily="-110" charset="0"/>
              <a:cs typeface="Arial" panose="020B0604020202020204" pitchFamily="34" charset="0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3838933" y="1372140"/>
            <a:ext cx="1935900" cy="2167982"/>
          </a:xfrm>
          <a:custGeom>
            <a:avLst/>
            <a:gdLst>
              <a:gd name="connsiteX0" fmla="*/ 0 w 1702577"/>
              <a:gd name="connsiteY0" fmla="*/ 0 h 1492408"/>
              <a:gd name="connsiteX1" fmla="*/ 1702577 w 1702577"/>
              <a:gd name="connsiteY1" fmla="*/ 0 h 1492408"/>
              <a:gd name="connsiteX2" fmla="*/ 1702577 w 1702577"/>
              <a:gd name="connsiteY2" fmla="*/ 1492408 h 1492408"/>
              <a:gd name="connsiteX3" fmla="*/ 0 w 1702577"/>
              <a:gd name="connsiteY3" fmla="*/ 1492408 h 1492408"/>
              <a:gd name="connsiteX4" fmla="*/ 0 w 1702577"/>
              <a:gd name="connsiteY4" fmla="*/ 0 h 1492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2577" h="1492408">
                <a:moveTo>
                  <a:pt x="0" y="0"/>
                </a:moveTo>
                <a:lnTo>
                  <a:pt x="1702577" y="0"/>
                </a:lnTo>
                <a:lnTo>
                  <a:pt x="1702577" y="1492408"/>
                </a:lnTo>
                <a:lnTo>
                  <a:pt x="0" y="1492408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1435" tIns="108000" rIns="51435" bIns="51435" numCol="1" spcCol="1270" anchor="t" anchorCtr="0">
            <a:noAutofit/>
          </a:bodyPr>
          <a:lstStyle/>
          <a:p>
            <a:pPr marL="0" marR="0" lvl="0" indent="0" algn="ctr" defTabSz="600045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D0921"/>
              </a:buClr>
              <a:buSzPct val="100000"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itchFamily="-110" charset="0"/>
                <a:cs typeface="Calibri" pitchFamily="34" charset="0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/>
                <a:ea typeface="Arial" pitchFamily="-110" charset="0"/>
                <a:cs typeface="Calibri" pitchFamily="34" charset="0"/>
              </a:rPr>
              <a:t>Provision or verification of user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/>
                <a:ea typeface="Arial" pitchFamily="-110" charset="0"/>
                <a:cs typeface="Calibri" pitchFamily="34" charset="0"/>
              </a:rPr>
              <a:t>identity</a:t>
            </a:r>
          </a:p>
        </p:txBody>
      </p:sp>
      <p:pic>
        <p:nvPicPr>
          <p:cNvPr id="48" name="Picture 47" descr="mc_authenticate.png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0528" y="1929425"/>
            <a:ext cx="894739" cy="324000"/>
          </a:xfrm>
          <a:prstGeom prst="rect">
            <a:avLst/>
          </a:prstGeom>
        </p:spPr>
      </p:pic>
      <p:pic>
        <p:nvPicPr>
          <p:cNvPr id="49" name="Picture 48" descr="mc_authenticate_plus.png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5598" y="2503393"/>
            <a:ext cx="891311" cy="360000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7916" y="1919383"/>
            <a:ext cx="1133380" cy="360000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7916" y="2503393"/>
            <a:ext cx="688966" cy="360000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9405" y="1960335"/>
            <a:ext cx="813103" cy="324000"/>
          </a:xfrm>
          <a:prstGeom prst="rect">
            <a:avLst/>
          </a:prstGeom>
        </p:spPr>
      </p:pic>
      <p:sp>
        <p:nvSpPr>
          <p:cNvPr id="2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380015" y="4891582"/>
            <a:ext cx="326067" cy="161084"/>
          </a:xfrm>
        </p:spPr>
        <p:txBody>
          <a:bodyPr/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2</a:t>
            </a:r>
          </a:p>
        </p:txBody>
      </p:sp>
      <p:sp>
        <p:nvSpPr>
          <p:cNvPr id="18" name="Oval 17"/>
          <p:cNvSpPr/>
          <p:nvPr/>
        </p:nvSpPr>
        <p:spPr>
          <a:xfrm>
            <a:off x="659403" y="754098"/>
            <a:ext cx="2886613" cy="327341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97671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169154" y="4929023"/>
            <a:ext cx="3533775" cy="10515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378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Copyright © </a:t>
            </a:r>
            <a:r>
              <a:rPr kumimoji="0" sz="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2018 GSMA. </a:t>
            </a:r>
            <a:r>
              <a:rPr kumimoji="0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The Mobile Connect logo is </a:t>
            </a:r>
            <a:r>
              <a:rPr kumimoji="0" sz="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a </a:t>
            </a:r>
            <a:r>
              <a:rPr kumimoji="0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trade </a:t>
            </a:r>
            <a:r>
              <a:rPr kumimoji="0" sz="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mark </a:t>
            </a:r>
            <a:r>
              <a:rPr kumimoji="0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registered </a:t>
            </a:r>
            <a:r>
              <a:rPr kumimoji="0" sz="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and owned </a:t>
            </a:r>
            <a:r>
              <a:rPr kumimoji="0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by the</a:t>
            </a:r>
            <a:r>
              <a:rPr kumimoji="0" sz="600" b="0" i="0" u="none" strike="noStrike" kern="1200" cap="none" spc="-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 </a:t>
            </a:r>
            <a:r>
              <a:rPr kumimoji="0" sz="6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GSMA.</a:t>
            </a:r>
            <a:endParaRPr kumimoji="0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28244" y="355091"/>
            <a:ext cx="815340" cy="36880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Arial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28244" y="4748021"/>
            <a:ext cx="2758440" cy="0"/>
          </a:xfrm>
          <a:custGeom>
            <a:avLst/>
            <a:gdLst/>
            <a:ahLst/>
            <a:cxnLst/>
            <a:rect l="l" t="t" r="r" b="b"/>
            <a:pathLst>
              <a:path w="2758440">
                <a:moveTo>
                  <a:pt x="0" y="0"/>
                </a:moveTo>
                <a:lnTo>
                  <a:pt x="2758440" y="0"/>
                </a:lnTo>
              </a:path>
            </a:pathLst>
          </a:custGeom>
          <a:ln w="71628">
            <a:solidFill>
              <a:srgbClr val="54517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Arial" charset="0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3186684" y="4748021"/>
            <a:ext cx="2757170" cy="0"/>
          </a:xfrm>
          <a:custGeom>
            <a:avLst/>
            <a:gdLst/>
            <a:ahLst/>
            <a:cxnLst/>
            <a:rect l="l" t="t" r="r" b="b"/>
            <a:pathLst>
              <a:path w="2757170">
                <a:moveTo>
                  <a:pt x="0" y="0"/>
                </a:moveTo>
                <a:lnTo>
                  <a:pt x="2756916" y="0"/>
                </a:lnTo>
              </a:path>
            </a:pathLst>
          </a:custGeom>
          <a:ln w="71628">
            <a:solidFill>
              <a:srgbClr val="FF66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Arial" charset="0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5943601" y="4748021"/>
            <a:ext cx="2757170" cy="0"/>
          </a:xfrm>
          <a:custGeom>
            <a:avLst/>
            <a:gdLst/>
            <a:ahLst/>
            <a:cxnLst/>
            <a:rect l="l" t="t" r="r" b="b"/>
            <a:pathLst>
              <a:path w="2757170">
                <a:moveTo>
                  <a:pt x="0" y="0"/>
                </a:moveTo>
                <a:lnTo>
                  <a:pt x="2756916" y="0"/>
                </a:lnTo>
              </a:path>
            </a:pathLst>
          </a:custGeom>
          <a:ln w="71628">
            <a:solidFill>
              <a:srgbClr val="00A6C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Arial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370076" y="252985"/>
            <a:ext cx="2540" cy="471170"/>
          </a:xfrm>
          <a:custGeom>
            <a:avLst/>
            <a:gdLst/>
            <a:ahLst/>
            <a:cxnLst/>
            <a:rect l="l" t="t" r="r" b="b"/>
            <a:pathLst>
              <a:path w="2540" h="471170">
                <a:moveTo>
                  <a:pt x="2412" y="0"/>
                </a:moveTo>
                <a:lnTo>
                  <a:pt x="0" y="470662"/>
                </a:lnTo>
              </a:path>
            </a:pathLst>
          </a:custGeom>
          <a:ln w="6096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Arial" charset="0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003804" y="1"/>
            <a:ext cx="6140196" cy="51434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Arial" charset="0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996798" y="1114425"/>
            <a:ext cx="4877308" cy="213584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378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Single mobile operator identity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solution </a:t>
            </a: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for</a:t>
            </a:r>
            <a:r>
              <a:rPr kumimoji="0" sz="1200" b="0" i="0" u="none" strike="noStrike" kern="1200" cap="none" spc="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 </a:t>
            </a: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online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 charset="0"/>
              <a:cs typeface="Arial"/>
            </a:endParaRPr>
          </a:p>
          <a:p>
            <a:pPr marL="1270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services</a:t>
            </a:r>
            <a:r>
              <a:rPr kumimoji="0" lang="en-GB" sz="12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 using the mobile phone- always with customer 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 charset="0"/>
              <a:cs typeface="Arial"/>
            </a:endParaRPr>
          </a:p>
          <a:p>
            <a:pPr marL="12700" marR="335906" lvl="0" indent="0" algn="l" defTabSz="91437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Calibri" panose="020F0502020204030204" pitchFamily="34" charset="0"/>
                <a:cs typeface="Gotham-Light"/>
              </a:rPr>
              <a:t>Verifies that the user is in control of their mobile phone  providing a single-factor authentication (Level of Assurance 2) - something I have(the phone) - or LOA3 with pin - something I know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Arial" charset="0"/>
            </a:endParaRPr>
          </a:p>
          <a:p>
            <a:pPr marL="12700" marR="335906" lvl="0" indent="0" algn="l" defTabSz="91437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Secure personal data sharing</a:t>
            </a:r>
            <a:r>
              <a:rPr kumimoji="0" lang="en-GB" sz="12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Distributed, federated framework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</a:b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utilis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 open standards</a:t>
            </a:r>
          </a:p>
          <a:p>
            <a:pPr marL="12700" marR="159381" lvl="0" indent="0" algn="l" defTabSz="91437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Password-less login to online resources across  any device (mobile, tablet,</a:t>
            </a:r>
            <a:r>
              <a:rPr kumimoji="0" sz="1200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 </a:t>
            </a:r>
            <a:r>
              <a:rPr kumimoji="0" sz="12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laptop)</a:t>
            </a:r>
            <a:r>
              <a:rPr kumimoji="0" lang="en-GB" sz="12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 reducing friction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01168" y="986028"/>
            <a:ext cx="719328" cy="71932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Arial" charset="0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230124" y="2787396"/>
            <a:ext cx="719328" cy="72085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Arial" charset="0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30124" y="2189988"/>
            <a:ext cx="719328" cy="71932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Arial" charset="0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01168" y="1563625"/>
            <a:ext cx="719328" cy="7193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Arial" charset="0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394716" y="1749552"/>
            <a:ext cx="332231" cy="33223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Arial" charset="0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657606" y="3662935"/>
            <a:ext cx="4585970" cy="702945"/>
          </a:xfrm>
          <a:custGeom>
            <a:avLst/>
            <a:gdLst/>
            <a:ahLst/>
            <a:cxnLst/>
            <a:rect l="l" t="t" r="r" b="b"/>
            <a:pathLst>
              <a:path w="4585970" h="702945">
                <a:moveTo>
                  <a:pt x="4468622" y="0"/>
                </a:moveTo>
                <a:lnTo>
                  <a:pt x="117093" y="0"/>
                </a:lnTo>
                <a:lnTo>
                  <a:pt x="71516" y="9205"/>
                </a:lnTo>
                <a:lnTo>
                  <a:pt x="34296" y="34305"/>
                </a:lnTo>
                <a:lnTo>
                  <a:pt x="9201" y="71526"/>
                </a:lnTo>
                <a:lnTo>
                  <a:pt x="0" y="117093"/>
                </a:lnTo>
                <a:lnTo>
                  <a:pt x="0" y="585469"/>
                </a:lnTo>
                <a:lnTo>
                  <a:pt x="9201" y="631047"/>
                </a:lnTo>
                <a:lnTo>
                  <a:pt x="34296" y="668267"/>
                </a:lnTo>
                <a:lnTo>
                  <a:pt x="71516" y="693362"/>
                </a:lnTo>
                <a:lnTo>
                  <a:pt x="117093" y="702563"/>
                </a:lnTo>
                <a:lnTo>
                  <a:pt x="4468622" y="702563"/>
                </a:lnTo>
                <a:lnTo>
                  <a:pt x="4514189" y="693362"/>
                </a:lnTo>
                <a:lnTo>
                  <a:pt x="4551410" y="668267"/>
                </a:lnTo>
                <a:lnTo>
                  <a:pt x="4576510" y="631047"/>
                </a:lnTo>
                <a:lnTo>
                  <a:pt x="4585716" y="585469"/>
                </a:lnTo>
                <a:lnTo>
                  <a:pt x="4585716" y="117093"/>
                </a:lnTo>
                <a:lnTo>
                  <a:pt x="4576510" y="71526"/>
                </a:lnTo>
                <a:lnTo>
                  <a:pt x="4551410" y="34305"/>
                </a:lnTo>
                <a:lnTo>
                  <a:pt x="4514189" y="9205"/>
                </a:lnTo>
                <a:lnTo>
                  <a:pt x="4468622" y="0"/>
                </a:lnTo>
                <a:close/>
              </a:path>
            </a:pathLst>
          </a:custGeom>
          <a:solidFill>
            <a:srgbClr val="CCCDCE"/>
          </a:solidFill>
        </p:spPr>
        <p:txBody>
          <a:bodyPr wrap="square" lIns="0" tIns="0" rIns="0" bIns="0" rtlCol="0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Arial" charset="0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657606" y="3662935"/>
            <a:ext cx="4585970" cy="702945"/>
          </a:xfrm>
          <a:custGeom>
            <a:avLst/>
            <a:gdLst/>
            <a:ahLst/>
            <a:cxnLst/>
            <a:rect l="l" t="t" r="r" b="b"/>
            <a:pathLst>
              <a:path w="4585970" h="702945">
                <a:moveTo>
                  <a:pt x="0" y="117093"/>
                </a:moveTo>
                <a:lnTo>
                  <a:pt x="9201" y="71526"/>
                </a:lnTo>
                <a:lnTo>
                  <a:pt x="34296" y="34305"/>
                </a:lnTo>
                <a:lnTo>
                  <a:pt x="71516" y="9205"/>
                </a:lnTo>
                <a:lnTo>
                  <a:pt x="117093" y="0"/>
                </a:lnTo>
                <a:lnTo>
                  <a:pt x="4468622" y="0"/>
                </a:lnTo>
                <a:lnTo>
                  <a:pt x="4514189" y="9205"/>
                </a:lnTo>
                <a:lnTo>
                  <a:pt x="4551410" y="34305"/>
                </a:lnTo>
                <a:lnTo>
                  <a:pt x="4576510" y="71526"/>
                </a:lnTo>
                <a:lnTo>
                  <a:pt x="4585716" y="117093"/>
                </a:lnTo>
                <a:lnTo>
                  <a:pt x="4585716" y="585469"/>
                </a:lnTo>
                <a:lnTo>
                  <a:pt x="4576510" y="631047"/>
                </a:lnTo>
                <a:lnTo>
                  <a:pt x="4551410" y="668267"/>
                </a:lnTo>
                <a:lnTo>
                  <a:pt x="4514189" y="693362"/>
                </a:lnTo>
                <a:lnTo>
                  <a:pt x="4468622" y="702563"/>
                </a:lnTo>
                <a:lnTo>
                  <a:pt x="117093" y="702563"/>
                </a:lnTo>
                <a:lnTo>
                  <a:pt x="71516" y="693362"/>
                </a:lnTo>
                <a:lnTo>
                  <a:pt x="34296" y="668267"/>
                </a:lnTo>
                <a:lnTo>
                  <a:pt x="9201" y="631047"/>
                </a:lnTo>
                <a:lnTo>
                  <a:pt x="0" y="585469"/>
                </a:lnTo>
                <a:lnTo>
                  <a:pt x="0" y="117093"/>
                </a:lnTo>
                <a:close/>
              </a:path>
            </a:pathLst>
          </a:custGeom>
          <a:ln w="25908">
            <a:solidFill>
              <a:srgbClr val="CCCDCE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Arial" charset="0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919074" y="3692753"/>
            <a:ext cx="941705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378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00" b="1" i="0" u="none" strike="noStrike" kern="1200" cap="none" spc="0" normalizeH="0" baseline="0" noProof="0" dirty="0">
                <a:ln>
                  <a:noFill/>
                </a:ln>
                <a:solidFill>
                  <a:srgbClr val="433D62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88%</a:t>
            </a:r>
            <a:endParaRPr kumimoji="0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145920" y="3752495"/>
            <a:ext cx="2633345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378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433D62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of consumers say a single secure</a:t>
            </a:r>
            <a:r>
              <a:rPr kumimoji="0" sz="1100" b="1" i="0" u="none" strike="noStrike" kern="1200" cap="none" spc="-145" normalizeH="0" baseline="0" noProof="0" dirty="0">
                <a:ln>
                  <a:noFill/>
                </a:ln>
                <a:solidFill>
                  <a:srgbClr val="433D62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433D62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login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 charset="0"/>
              <a:cs typeface="Arial"/>
            </a:endParaRPr>
          </a:p>
          <a:p>
            <a:pPr marL="1270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433D62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solution </a:t>
            </a:r>
            <a:r>
              <a:rPr kumimoji="0" sz="1100" b="1" i="0" u="none" strike="noStrike" kern="1200" cap="none" spc="5" normalizeH="0" baseline="0" noProof="0" dirty="0">
                <a:ln>
                  <a:noFill/>
                </a:ln>
                <a:solidFill>
                  <a:srgbClr val="433D62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would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433D62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be beneficial to</a:t>
            </a:r>
            <a:r>
              <a:rPr kumimoji="0" sz="1100" b="1" i="0" u="none" strike="noStrike" kern="1200" cap="none" spc="-190" normalizeH="0" baseline="0" noProof="0" dirty="0">
                <a:ln>
                  <a:noFill/>
                </a:ln>
                <a:solidFill>
                  <a:srgbClr val="433D62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433D62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them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43840" y="4426407"/>
            <a:ext cx="2879090" cy="137857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l" defTabSz="91437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5" normalizeH="0" baseline="0" noProof="0" dirty="0">
                <a:ln>
                  <a:noFill/>
                </a:ln>
                <a:solidFill>
                  <a:srgbClr val="403C5C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Sources: 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03C5C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GSMA 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03C5C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Consumer Research 2015, Cyber</a:t>
            </a:r>
            <a:r>
              <a:rPr kumimoji="0" sz="800" b="0" i="0" u="none" strike="noStrike" kern="1200" cap="none" spc="-45" normalizeH="0" baseline="0" noProof="0" dirty="0">
                <a:ln>
                  <a:noFill/>
                </a:ln>
                <a:solidFill>
                  <a:srgbClr val="403C5C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03C5C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Streetwise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20" name="object 20"/>
          <p:cNvSpPr txBox="1">
            <a:spLocks noGrp="1"/>
          </p:cNvSpPr>
          <p:nvPr>
            <p:ph type="title"/>
          </p:nvPr>
        </p:nvSpPr>
        <p:spPr>
          <a:xfrm>
            <a:off x="1422273" y="342138"/>
            <a:ext cx="3599179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n-GB" sz="1800" spc="-5" dirty="0">
                <a:solidFill>
                  <a:srgbClr val="808285"/>
                </a:solidFill>
              </a:rPr>
              <a:t>Mobile Connect Authentication</a:t>
            </a:r>
            <a:endParaRPr sz="1800" dirty="0"/>
          </a:p>
        </p:txBody>
      </p:sp>
    </p:spTree>
    <p:extLst>
      <p:ext uri="{BB962C8B-B14F-4D97-AF65-F5344CB8AC3E}">
        <p14:creationId xmlns:p14="http://schemas.microsoft.com/office/powerpoint/2010/main" val="2773060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Identity – Mobile Connect</a:t>
            </a: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DF6AA9-66E8-4EDF-BC96-A318BF818F57}" type="slidenum"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Turkcell</a:t>
            </a:r>
            <a:r>
              <a:rPr lang="en-GB" dirty="0"/>
              <a:t> digital transformation strategy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387" y="911021"/>
            <a:ext cx="4059059" cy="224693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9317" y="2342792"/>
            <a:ext cx="4291500" cy="2299732"/>
          </a:xfrm>
          <a:prstGeom prst="rect">
            <a:avLst/>
          </a:prstGeom>
        </p:spPr>
      </p:pic>
      <p:graphicFrame>
        <p:nvGraphicFramePr>
          <p:cNvPr id="8" name="Diagram 7"/>
          <p:cNvGraphicFramePr/>
          <p:nvPr>
            <p:extLst/>
          </p:nvPr>
        </p:nvGraphicFramePr>
        <p:xfrm>
          <a:off x="4579317" y="474683"/>
          <a:ext cx="2476991" cy="1687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0" name="Rectangle 9"/>
          <p:cNvSpPr/>
          <p:nvPr/>
        </p:nvSpPr>
        <p:spPr>
          <a:xfrm>
            <a:off x="7127767" y="889096"/>
            <a:ext cx="1828800" cy="1045511"/>
          </a:xfrm>
          <a:prstGeom prst="rect">
            <a:avLst/>
          </a:prstGeom>
          <a:solidFill>
            <a:srgbClr val="9490B6"/>
          </a:solidFill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Mobile Connect provide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a consistent  log in experience across multiple application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powering rapid adoption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13629" y="3396147"/>
            <a:ext cx="4043817" cy="1246377"/>
          </a:xfrm>
          <a:prstGeom prst="rect">
            <a:avLst/>
          </a:prstGeom>
          <a:solidFill>
            <a:srgbClr val="9490B6"/>
          </a:solidFill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4352544" y="1037576"/>
            <a:ext cx="16127" cy="34393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203856" y="3453055"/>
            <a:ext cx="40267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Turkcell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 strategy-1440 strategy- is to increase share of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 customers daily digital experience from c.25 minut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 by developing new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Turkcell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 digital propositions and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 partnering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A single identity authentication experience is central to this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4480798" y="2109629"/>
            <a:ext cx="4475769" cy="55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15853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4B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0" name="shutterstock_649627402.jpg" descr="shutterstock_649627402.jpg"/>
          <p:cNvPicPr>
            <a:picLocks noChangeAspect="1"/>
          </p:cNvPicPr>
          <p:nvPr/>
        </p:nvPicPr>
        <p:blipFill>
          <a:blip r:embed="rId3">
            <a:alphaModFix amt="5642"/>
            <a:extLst/>
          </a:blip>
          <a:stretch>
            <a:fillRect/>
          </a:stretch>
        </p:blipFill>
        <p:spPr>
          <a:xfrm>
            <a:off x="-80691" y="-1281697"/>
            <a:ext cx="9144001" cy="6858001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892" name="2B Sütun Grafiği"/>
          <p:cNvGraphicFramePr/>
          <p:nvPr>
            <p:extLst/>
          </p:nvPr>
        </p:nvGraphicFramePr>
        <p:xfrm>
          <a:off x="245703" y="1386201"/>
          <a:ext cx="5712956" cy="2733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851" name="Picture 8" descr="Picture 8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8530244" y="4539742"/>
            <a:ext cx="457424" cy="464744"/>
          </a:xfrm>
          <a:prstGeom prst="rect">
            <a:avLst/>
          </a:prstGeom>
          <a:ln w="12700">
            <a:miter lim="400000"/>
          </a:ln>
        </p:spPr>
      </p:pic>
      <p:sp>
        <p:nvSpPr>
          <p:cNvPr id="852" name="Şekil"/>
          <p:cNvSpPr/>
          <p:nvPr/>
        </p:nvSpPr>
        <p:spPr>
          <a:xfrm>
            <a:off x="7272161" y="3195213"/>
            <a:ext cx="3100248" cy="31000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20595" extrusionOk="0">
                <a:moveTo>
                  <a:pt x="9839" y="0"/>
                </a:moveTo>
                <a:cubicBezTo>
                  <a:pt x="7321" y="0"/>
                  <a:pt x="4803" y="1005"/>
                  <a:pt x="2881" y="3015"/>
                </a:cubicBezTo>
                <a:cubicBezTo>
                  <a:pt x="-961" y="7037"/>
                  <a:pt x="-961" y="13557"/>
                  <a:pt x="2881" y="17579"/>
                </a:cubicBezTo>
                <a:cubicBezTo>
                  <a:pt x="6724" y="21600"/>
                  <a:pt x="12954" y="21600"/>
                  <a:pt x="16797" y="17579"/>
                </a:cubicBezTo>
                <a:cubicBezTo>
                  <a:pt x="20639" y="13557"/>
                  <a:pt x="20639" y="7037"/>
                  <a:pt x="16797" y="3015"/>
                </a:cubicBezTo>
                <a:cubicBezTo>
                  <a:pt x="14875" y="1005"/>
                  <a:pt x="12357" y="0"/>
                  <a:pt x="9839" y="0"/>
                </a:cubicBezTo>
                <a:close/>
                <a:moveTo>
                  <a:pt x="9839" y="6765"/>
                </a:moveTo>
                <a:cubicBezTo>
                  <a:pt x="10703" y="6765"/>
                  <a:pt x="11567" y="7109"/>
                  <a:pt x="12226" y="7799"/>
                </a:cubicBezTo>
                <a:cubicBezTo>
                  <a:pt x="13544" y="9178"/>
                  <a:pt x="13544" y="11416"/>
                  <a:pt x="12226" y="12795"/>
                </a:cubicBezTo>
                <a:cubicBezTo>
                  <a:pt x="10908" y="14175"/>
                  <a:pt x="8770" y="14175"/>
                  <a:pt x="7452" y="12795"/>
                </a:cubicBezTo>
                <a:cubicBezTo>
                  <a:pt x="6134" y="11416"/>
                  <a:pt x="6134" y="9178"/>
                  <a:pt x="7452" y="7799"/>
                </a:cubicBezTo>
                <a:cubicBezTo>
                  <a:pt x="8111" y="7109"/>
                  <a:pt x="8975" y="6765"/>
                  <a:pt x="9839" y="6765"/>
                </a:cubicBezTo>
                <a:close/>
              </a:path>
            </a:pathLst>
          </a:custGeom>
          <a:solidFill>
            <a:srgbClr val="00AEE9">
              <a:alpha val="10000"/>
            </a:srgbClr>
          </a:solidFill>
          <a:ln w="12700">
            <a:miter lim="400000"/>
          </a:ln>
        </p:spPr>
        <p:txBody>
          <a:bodyPr lIns="137158" tIns="137158" rIns="137158" bIns="137158" anchor="ctr"/>
          <a:lstStyle/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>
                <a:solidFill>
                  <a:srgbClr val="FFFFFF"/>
                </a:solidFill>
                <a:latin typeface="Greycliff CF Medium"/>
                <a:ea typeface="Greycliff CF Medium"/>
                <a:cs typeface="Greycliff CF Medium"/>
                <a:sym typeface="Greycliff CF Medium"/>
              </a:defRPr>
            </a:pPr>
            <a:endParaRPr kumimoji="0" lang="tr-TR" sz="67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eycliff CF Medium"/>
              <a:ea typeface="Greycliff CF Medium"/>
              <a:cs typeface="Greycliff CF Medium"/>
              <a:sym typeface="Greycliff CF Medium"/>
            </a:endParaRPr>
          </a:p>
        </p:txBody>
      </p:sp>
      <p:sp>
        <p:nvSpPr>
          <p:cNvPr id="853" name="Oval 103"/>
          <p:cNvSpPr/>
          <p:nvPr/>
        </p:nvSpPr>
        <p:spPr>
          <a:xfrm>
            <a:off x="-1926032" y="-2111256"/>
            <a:ext cx="3090723" cy="3093554"/>
          </a:xfrm>
          <a:prstGeom prst="ellipse">
            <a:avLst/>
          </a:prstGeom>
          <a:ln w="12700">
            <a:solidFill>
              <a:srgbClr val="FFC40C"/>
            </a:solidFill>
          </a:ln>
        </p:spPr>
        <p:txBody>
          <a:bodyPr lIns="0" tIns="0" rIns="0" bIns="0" anchor="ctr"/>
          <a:lstStyle/>
          <a:p>
            <a:pPr marL="0" marR="0" lvl="0" indent="0" algn="ctr" defTabSz="30507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854" name="TextBox 9"/>
          <p:cNvSpPr txBox="1"/>
          <p:nvPr/>
        </p:nvSpPr>
        <p:spPr>
          <a:xfrm>
            <a:off x="898385" y="235343"/>
            <a:ext cx="8658503" cy="3597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8101" tIns="18101" rIns="18101" bIns="18101">
            <a:spAutoFit/>
          </a:bodyPr>
          <a:lstStyle/>
          <a:p>
            <a:pPr marL="0" marR="0" lvl="0" indent="0" algn="l" defTabSz="48268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743325" algn="l"/>
              </a:tabLst>
              <a:defRPr sz="7000" cap="all">
                <a:solidFill>
                  <a:srgbClr val="FFC001"/>
                </a:solidFill>
                <a:latin typeface="Greycliff CF Medium"/>
                <a:ea typeface="Greycliff CF Medium"/>
                <a:cs typeface="Greycliff CF Medium"/>
                <a:sym typeface="Greycliff CF Medium"/>
              </a:defRPr>
            </a:pPr>
            <a:r>
              <a:rPr kumimoji="0" lang="tr-TR" sz="2100" b="0" i="0" u="none" strike="noStrike" kern="0" cap="all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ea typeface="Greycliff CF Heavy"/>
                <a:cs typeface="Greycliff CF Heavy"/>
                <a:sym typeface="Greycliff CF Heavy"/>
              </a:rPr>
              <a:t>IMPACT</a:t>
            </a:r>
            <a:r>
              <a:rPr kumimoji="0" lang="tr-TR" sz="2100" b="0" i="0" u="none" strike="noStrike" kern="0" cap="all" spc="0" normalizeH="0" baseline="0" noProof="0" dirty="0">
                <a:ln>
                  <a:noFill/>
                </a:ln>
                <a:solidFill>
                  <a:srgbClr val="FFC001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rPr>
              <a:t> </a:t>
            </a:r>
            <a:r>
              <a:rPr kumimoji="0" lang="tr-TR" sz="2100" b="0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rPr>
              <a:t>OF DIGITAL SERVICES ON MOBILE CONNECT USE</a:t>
            </a:r>
          </a:p>
        </p:txBody>
      </p:sp>
      <p:grpSp>
        <p:nvGrpSpPr>
          <p:cNvPr id="870" name="Grup"/>
          <p:cNvGrpSpPr>
            <a:grpSpLocks noChangeAspect="1"/>
          </p:cNvGrpSpPr>
          <p:nvPr/>
        </p:nvGrpSpPr>
        <p:grpSpPr>
          <a:xfrm>
            <a:off x="2717496" y="764183"/>
            <a:ext cx="486000" cy="486000"/>
            <a:chOff x="0" y="0"/>
            <a:chExt cx="1657197" cy="1657197"/>
          </a:xfrm>
        </p:grpSpPr>
        <p:grpSp>
          <p:nvGrpSpPr>
            <p:cNvPr id="866" name="Grup 21"/>
            <p:cNvGrpSpPr/>
            <p:nvPr/>
          </p:nvGrpSpPr>
          <p:grpSpPr>
            <a:xfrm>
              <a:off x="73608" y="74566"/>
              <a:ext cx="1509983" cy="1511118"/>
              <a:chOff x="73608" y="77475"/>
              <a:chExt cx="1509982" cy="1511117"/>
            </a:xfrm>
          </p:grpSpPr>
          <p:sp>
            <p:nvSpPr>
              <p:cNvPr id="864" name="Grup 101"/>
              <p:cNvSpPr/>
              <p:nvPr/>
            </p:nvSpPr>
            <p:spPr>
              <a:xfrm>
                <a:off x="73608" y="77475"/>
                <a:ext cx="1509983" cy="1511118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9"/>
                  </a:gs>
                  <a:gs pos="100000">
                    <a:srgbClr val="0080BC"/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305076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latin typeface="Helvetica Neue Medium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0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 Medium"/>
                  <a:ea typeface="Helvetica Neue Medium"/>
                  <a:cs typeface="Helvetica Neue Medium"/>
                  <a:sym typeface="Helvetica Neue Medium"/>
                </a:endParaRPr>
              </a:p>
            </p:txBody>
          </p:sp>
          <p:pic>
            <p:nvPicPr>
              <p:cNvPr id="865" name="ascendant-bars-graphic.png" descr="ascendant-bars-graphic.png"/>
              <p:cNvPicPr>
                <a:picLocks noChangeAspect="1"/>
              </p:cNvPicPr>
              <p:nvPr/>
            </p:nvPicPr>
            <p:blipFill>
              <a:blip r:embed="rId6">
                <a:extLst/>
              </a:blip>
              <a:srcRect l="2493" r="2492"/>
              <a:stretch>
                <a:fillRect/>
              </a:stretch>
            </p:blipFill>
            <p:spPr>
              <a:xfrm>
                <a:off x="469534" y="455143"/>
                <a:ext cx="718128" cy="755824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grpSp>
          <p:nvGrpSpPr>
            <p:cNvPr id="869" name="Grup"/>
            <p:cNvGrpSpPr/>
            <p:nvPr/>
          </p:nvGrpSpPr>
          <p:grpSpPr>
            <a:xfrm rot="16200000">
              <a:off x="-1" y="-1"/>
              <a:ext cx="1657199" cy="1657199"/>
              <a:chOff x="0" y="0"/>
              <a:chExt cx="1657197" cy="1657197"/>
            </a:xfrm>
          </p:grpSpPr>
          <p:sp>
            <p:nvSpPr>
              <p:cNvPr id="867" name="Oval 6"/>
              <p:cNvSpPr/>
              <p:nvPr/>
            </p:nvSpPr>
            <p:spPr>
              <a:xfrm>
                <a:off x="0" y="0"/>
                <a:ext cx="1657198" cy="1657198"/>
              </a:xfrm>
              <a:prstGeom prst="ellipse">
                <a:avLst/>
              </a:prstGeom>
              <a:noFill/>
              <a:ln w="6350" cap="flat">
                <a:solidFill>
                  <a:srgbClr val="FFFFFF">
                    <a:alpha val="10461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137158" tIns="137158" rIns="137158" bIns="137158" numCol="1" anchor="ctr">
                <a:noAutofit/>
              </a:bodyPr>
              <a:lstStyle/>
              <a:p>
                <a:pPr marL="0" marR="0" lvl="0" indent="0" algn="ctr" defTabSz="3429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kumimoji="0" sz="67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8" name="Çizgi"/>
              <p:cNvSpPr/>
              <p:nvPr/>
            </p:nvSpPr>
            <p:spPr>
              <a:xfrm rot="10800000">
                <a:off x="4227" y="3984"/>
                <a:ext cx="1648698" cy="159647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5518" h="21448" extrusionOk="0">
                    <a:moveTo>
                      <a:pt x="10682" y="0"/>
                    </a:moveTo>
                    <a:cubicBezTo>
                      <a:pt x="18507" y="4569"/>
                      <a:pt x="16312" y="21295"/>
                      <a:pt x="7868" y="21447"/>
                    </a:cubicBezTo>
                    <a:cubicBezTo>
                      <a:pt x="-646" y="21600"/>
                      <a:pt x="-3093" y="4768"/>
                      <a:pt x="4751" y="0"/>
                    </a:cubicBezTo>
                  </a:path>
                </a:pathLst>
              </a:custGeom>
              <a:noFill/>
              <a:ln w="6350" cap="flat">
                <a:solidFill>
                  <a:srgbClr val="FFC40C"/>
                </a:solidFill>
                <a:prstDash val="solid"/>
                <a:miter lim="400000"/>
                <a:headEnd type="oval" w="med" len="med"/>
                <a:tailEnd type="oval" w="med" len="med"/>
              </a:ln>
              <a:effectLst/>
            </p:spPr>
            <p:txBody>
              <a:bodyPr wrap="square" lIns="137158" tIns="137158" rIns="137158" bIns="137158" numCol="1" anchor="ctr">
                <a:noAutofit/>
              </a:bodyPr>
              <a:lstStyle/>
              <a:p>
                <a:pPr marL="0" marR="0" lvl="0" indent="0" algn="ctr" defTabSz="323608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Helvetica Neue Medium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 Neue Medium"/>
                  <a:ea typeface="Helvetica Neue Medium"/>
                  <a:cs typeface="Helvetica Neue Medium"/>
                  <a:sym typeface="Helvetica Neue Medium"/>
                </a:endParaRPr>
              </a:p>
            </p:txBody>
          </p:sp>
        </p:grpSp>
      </p:grpSp>
      <p:sp>
        <p:nvSpPr>
          <p:cNvPr id="871" name="21M+…"/>
          <p:cNvSpPr txBox="1"/>
          <p:nvPr/>
        </p:nvSpPr>
        <p:spPr>
          <a:xfrm>
            <a:off x="3358329" y="832822"/>
            <a:ext cx="1517734" cy="3637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111" tIns="20111" rIns="20111" bIns="20111" anchor="ctr">
            <a:spAutoFit/>
          </a:bodyPr>
          <a:lstStyle/>
          <a:p>
            <a:pPr marL="0" marR="0" lvl="0" indent="0" algn="l" defTabSz="3265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solidFill>
                  <a:srgbClr val="FFC40C"/>
                </a:solidFill>
                <a:latin typeface="Greycliff CF Heavy"/>
                <a:ea typeface="Greycliff CF Heavy"/>
                <a:cs typeface="Greycliff CF Heavy"/>
                <a:sym typeface="Greycliff CF Heavy"/>
              </a:defRPr>
            </a:pPr>
            <a:r>
              <a:rPr kumimoji="0" lang="tr-TR" sz="1050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ea typeface="Greycliff CF Heavy"/>
                <a:cs typeface="Greycliff CF Heavy"/>
                <a:sym typeface="Greycliff CF Heavy"/>
              </a:rPr>
              <a:t>1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ea typeface="Greycliff CF Heavy"/>
                <a:cs typeface="Greycliff CF Heavy"/>
                <a:sym typeface="Greycliff CF Heavy"/>
              </a:rPr>
              <a:t>6</a:t>
            </a:r>
            <a:r>
              <a:rPr kumimoji="0" lang="tr-TR" sz="1050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ea typeface="Greycliff CF Heavy"/>
                <a:cs typeface="Greycliff CF Heavy"/>
                <a:sym typeface="Greycliff CF Heavy"/>
              </a:rPr>
              <a:t> </a:t>
            </a:r>
            <a:r>
              <a:rPr kumimoji="0" sz="1050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ea typeface="Greycliff CF Heavy"/>
                <a:cs typeface="Greycliff CF Heavy"/>
                <a:sym typeface="Greycliff CF Heavy"/>
              </a:rPr>
              <a:t>M</a:t>
            </a: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ea typeface="Greycliff CF Heavy"/>
                <a:cs typeface="Greycliff CF Heavy"/>
                <a:sym typeface="Greycliff CF Heavy"/>
              </a:rPr>
              <a:t>+</a:t>
            </a:r>
            <a:r>
              <a:rPr kumimoji="0" sz="1050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ea typeface="Greycliff CF Heavy"/>
                <a:cs typeface="Greycliff CF Heavy"/>
                <a:sym typeface="Greycliff CF Heavy"/>
              </a:rPr>
              <a:t> </a:t>
            </a:r>
          </a:p>
          <a:p>
            <a:pPr marL="0" marR="0" lvl="0" indent="0" algn="l" defTabSz="3265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solidFill>
                  <a:srgbClr val="FFFFFF"/>
                </a:solidFill>
                <a:latin typeface="Greycliff CF Light"/>
                <a:ea typeface="Greycliff CF Light"/>
                <a:cs typeface="Greycliff CF Light"/>
                <a:sym typeface="Greycliff CF Light"/>
              </a:defRPr>
            </a:pPr>
            <a:r>
              <a:rPr kumimoji="0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Light"/>
                <a:ea typeface="Greycliff CF Light"/>
                <a:cs typeface="Greycliff CF Light"/>
                <a:sym typeface="Greycliff CF Light"/>
              </a:rPr>
              <a:t>Registered users </a:t>
            </a:r>
          </a:p>
        </p:txBody>
      </p:sp>
      <p:grpSp>
        <p:nvGrpSpPr>
          <p:cNvPr id="878" name="Grup"/>
          <p:cNvGrpSpPr>
            <a:grpSpLocks noChangeAspect="1"/>
          </p:cNvGrpSpPr>
          <p:nvPr/>
        </p:nvGrpSpPr>
        <p:grpSpPr>
          <a:xfrm>
            <a:off x="308435" y="788228"/>
            <a:ext cx="486000" cy="486000"/>
            <a:chOff x="0" y="0"/>
            <a:chExt cx="1657197" cy="1657197"/>
          </a:xfrm>
        </p:grpSpPr>
        <p:grpSp>
          <p:nvGrpSpPr>
            <p:cNvPr id="874" name="Grup 21"/>
            <p:cNvGrpSpPr/>
            <p:nvPr/>
          </p:nvGrpSpPr>
          <p:grpSpPr>
            <a:xfrm>
              <a:off x="73608" y="74566"/>
              <a:ext cx="1509983" cy="1511118"/>
              <a:chOff x="73608" y="77475"/>
              <a:chExt cx="1509982" cy="1511117"/>
            </a:xfrm>
          </p:grpSpPr>
          <p:sp>
            <p:nvSpPr>
              <p:cNvPr id="872" name="Grup 101"/>
              <p:cNvSpPr/>
              <p:nvPr/>
            </p:nvSpPr>
            <p:spPr>
              <a:xfrm>
                <a:off x="73608" y="77475"/>
                <a:ext cx="1509983" cy="1511118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9"/>
                  </a:gs>
                  <a:gs pos="100000">
                    <a:srgbClr val="0080BC"/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305076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latin typeface="Helvetica Neue Medium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0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 Medium"/>
                  <a:ea typeface="Helvetica Neue Medium"/>
                  <a:cs typeface="Helvetica Neue Medium"/>
                  <a:sym typeface="Helvetica Neue Medium"/>
                </a:endParaRPr>
              </a:p>
            </p:txBody>
          </p:sp>
          <p:pic>
            <p:nvPicPr>
              <p:cNvPr id="873" name="app.png" descr="app.png"/>
              <p:cNvPicPr>
                <a:picLocks noChangeAspect="1"/>
              </p:cNvPicPr>
              <p:nvPr/>
            </p:nvPicPr>
            <p:blipFill>
              <a:blip r:embed="rId7">
                <a:extLst/>
              </a:blip>
              <a:srcRect l="2492" r="2494"/>
              <a:stretch>
                <a:fillRect/>
              </a:stretch>
            </p:blipFill>
            <p:spPr>
              <a:xfrm>
                <a:off x="469529" y="455143"/>
                <a:ext cx="718128" cy="755824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grpSp>
          <p:nvGrpSpPr>
            <p:cNvPr id="877" name="Grup"/>
            <p:cNvGrpSpPr/>
            <p:nvPr/>
          </p:nvGrpSpPr>
          <p:grpSpPr>
            <a:xfrm rot="16200000">
              <a:off x="-1" y="-1"/>
              <a:ext cx="1657199" cy="1657199"/>
              <a:chOff x="0" y="0"/>
              <a:chExt cx="1657197" cy="1657197"/>
            </a:xfrm>
          </p:grpSpPr>
          <p:sp>
            <p:nvSpPr>
              <p:cNvPr id="875" name="Oval 6"/>
              <p:cNvSpPr/>
              <p:nvPr/>
            </p:nvSpPr>
            <p:spPr>
              <a:xfrm>
                <a:off x="0" y="0"/>
                <a:ext cx="1657198" cy="1657198"/>
              </a:xfrm>
              <a:prstGeom prst="ellipse">
                <a:avLst/>
              </a:prstGeom>
              <a:noFill/>
              <a:ln w="6350" cap="flat">
                <a:solidFill>
                  <a:srgbClr val="FFFFFF">
                    <a:alpha val="10461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137158" tIns="137158" rIns="137158" bIns="137158" numCol="1" anchor="ctr">
                <a:noAutofit/>
              </a:bodyPr>
              <a:lstStyle/>
              <a:p>
                <a:pPr marL="0" marR="0" lvl="0" indent="0" algn="ctr" defTabSz="3429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kumimoji="0" sz="67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6" name="Çizgi"/>
              <p:cNvSpPr/>
              <p:nvPr/>
            </p:nvSpPr>
            <p:spPr>
              <a:xfrm rot="10800000">
                <a:off x="4227" y="3984"/>
                <a:ext cx="1648698" cy="159647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5518" h="21448" extrusionOk="0">
                    <a:moveTo>
                      <a:pt x="10682" y="0"/>
                    </a:moveTo>
                    <a:cubicBezTo>
                      <a:pt x="18507" y="4569"/>
                      <a:pt x="16312" y="21295"/>
                      <a:pt x="7868" y="21447"/>
                    </a:cubicBezTo>
                    <a:cubicBezTo>
                      <a:pt x="-646" y="21600"/>
                      <a:pt x="-3093" y="4768"/>
                      <a:pt x="4751" y="0"/>
                    </a:cubicBezTo>
                  </a:path>
                </a:pathLst>
              </a:custGeom>
              <a:noFill/>
              <a:ln w="6350" cap="flat">
                <a:solidFill>
                  <a:srgbClr val="FFC40C"/>
                </a:solidFill>
                <a:prstDash val="solid"/>
                <a:miter lim="400000"/>
                <a:headEnd type="oval" w="med" len="med"/>
                <a:tailEnd type="oval" w="med" len="med"/>
              </a:ln>
              <a:effectLst/>
            </p:spPr>
            <p:txBody>
              <a:bodyPr wrap="square" lIns="137158" tIns="137158" rIns="137158" bIns="137158" numCol="1" anchor="ctr">
                <a:noAutofit/>
              </a:bodyPr>
              <a:lstStyle/>
              <a:p>
                <a:pPr marL="0" marR="0" lvl="0" indent="0" algn="ctr" defTabSz="323608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Helvetica Neue Medium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 Neue Medium"/>
                  <a:ea typeface="Helvetica Neue Medium"/>
                  <a:cs typeface="Helvetica Neue Medium"/>
                  <a:sym typeface="Helvetica Neue Medium"/>
                </a:endParaRPr>
              </a:p>
            </p:txBody>
          </p:sp>
        </p:grpSp>
      </p:grpSp>
      <p:sp>
        <p:nvSpPr>
          <p:cNvPr id="879" name="31 apps…"/>
          <p:cNvSpPr txBox="1"/>
          <p:nvPr/>
        </p:nvSpPr>
        <p:spPr>
          <a:xfrm>
            <a:off x="1012742" y="814508"/>
            <a:ext cx="1909493" cy="3637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111" tIns="20111" rIns="20111" bIns="20111" anchor="ctr">
            <a:spAutoFit/>
          </a:bodyPr>
          <a:lstStyle/>
          <a:p>
            <a:pPr marL="0" marR="0" lvl="0" indent="0" algn="l" defTabSz="3265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solidFill>
                  <a:srgbClr val="FFFFFF"/>
                </a:solidFill>
                <a:latin typeface="Greycliff CF Light"/>
                <a:ea typeface="Greycliff CF Light"/>
                <a:cs typeface="Greycliff CF Light"/>
                <a:sym typeface="Greycliff CF Light"/>
              </a:defRPr>
            </a:pPr>
            <a:r>
              <a: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ea typeface="Greycliff CF Heavy"/>
                <a:cs typeface="Greycliff CF Heavy"/>
                <a:sym typeface="Greycliff CF Heavy"/>
              </a:rPr>
              <a:t>50</a:t>
            </a:r>
            <a:r>
              <a:rPr kumimoji="0" sz="1050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ea typeface="Greycliff CF Heavy"/>
                <a:cs typeface="Greycliff CF Heavy"/>
                <a:sym typeface="Greycliff CF Heavy"/>
              </a:rPr>
              <a:t> apps</a:t>
            </a:r>
            <a:r>
              <a:rPr kumimoji="0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Light"/>
                <a:ea typeface="Greycliff CF Light"/>
                <a:cs typeface="Greycliff CF Light"/>
                <a:sym typeface="Greycliff CF Light"/>
              </a:rPr>
              <a:t> </a:t>
            </a:r>
          </a:p>
          <a:p>
            <a:pPr marL="0" marR="0" lvl="0" indent="0" algn="l" defTabSz="3265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solidFill>
                  <a:srgbClr val="FFFFFF"/>
                </a:solidFill>
                <a:latin typeface="Greycliff CF Light"/>
                <a:ea typeface="Greycliff CF Light"/>
                <a:cs typeface="Greycliff CF Light"/>
                <a:sym typeface="Greycliff CF Light"/>
              </a:defRPr>
            </a:pPr>
            <a:r>
              <a:rPr kumimoji="0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Light"/>
                <a:ea typeface="Greycliff CF Light"/>
                <a:cs typeface="Greycliff CF Light"/>
                <a:sym typeface="Greycliff CF Light"/>
              </a:rPr>
              <a:t>and services integrated</a:t>
            </a:r>
          </a:p>
        </p:txBody>
      </p:sp>
      <p:grpSp>
        <p:nvGrpSpPr>
          <p:cNvPr id="886" name="Grup"/>
          <p:cNvGrpSpPr>
            <a:grpSpLocks noChangeAspect="1"/>
          </p:cNvGrpSpPr>
          <p:nvPr/>
        </p:nvGrpSpPr>
        <p:grpSpPr>
          <a:xfrm>
            <a:off x="320648" y="1576724"/>
            <a:ext cx="486000" cy="486000"/>
            <a:chOff x="0" y="0"/>
            <a:chExt cx="1657197" cy="1657197"/>
          </a:xfrm>
        </p:grpSpPr>
        <p:grpSp>
          <p:nvGrpSpPr>
            <p:cNvPr id="882" name="Grup 21"/>
            <p:cNvGrpSpPr/>
            <p:nvPr/>
          </p:nvGrpSpPr>
          <p:grpSpPr>
            <a:xfrm>
              <a:off x="73608" y="74566"/>
              <a:ext cx="1509983" cy="1511118"/>
              <a:chOff x="73608" y="77475"/>
              <a:chExt cx="1509982" cy="1511117"/>
            </a:xfrm>
          </p:grpSpPr>
          <p:sp>
            <p:nvSpPr>
              <p:cNvPr id="880" name="Grup 101"/>
              <p:cNvSpPr/>
              <p:nvPr/>
            </p:nvSpPr>
            <p:spPr>
              <a:xfrm>
                <a:off x="73608" y="77475"/>
                <a:ext cx="1509983" cy="1511118"/>
              </a:xfrm>
              <a:prstGeom prst="ellipse">
                <a:avLst/>
              </a:prstGeom>
              <a:gradFill flip="none" rotWithShape="1">
                <a:gsLst>
                  <a:gs pos="0">
                    <a:srgbClr val="00AEE9"/>
                  </a:gs>
                  <a:gs pos="100000">
                    <a:srgbClr val="0080BC"/>
                  </a:gs>
                </a:gsLst>
                <a:lin ang="54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305076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latin typeface="Helvetica Neue Medium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0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 Neue Medium"/>
                  <a:ea typeface="Helvetica Neue Medium"/>
                  <a:cs typeface="Helvetica Neue Medium"/>
                  <a:sym typeface="Helvetica Neue Medium"/>
                </a:endParaRPr>
              </a:p>
            </p:txBody>
          </p:sp>
          <p:pic>
            <p:nvPicPr>
              <p:cNvPr id="881" name="mobile-app.png" descr="mobile-app.png"/>
              <p:cNvPicPr>
                <a:picLocks noChangeAspect="1"/>
              </p:cNvPicPr>
              <p:nvPr/>
            </p:nvPicPr>
            <p:blipFill>
              <a:blip r:embed="rId8">
                <a:extLst/>
              </a:blip>
              <a:srcRect l="2492" r="2494"/>
              <a:stretch>
                <a:fillRect/>
              </a:stretch>
            </p:blipFill>
            <p:spPr>
              <a:xfrm>
                <a:off x="469529" y="455143"/>
                <a:ext cx="718128" cy="755824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grpSp>
          <p:nvGrpSpPr>
            <p:cNvPr id="885" name="Grup"/>
            <p:cNvGrpSpPr/>
            <p:nvPr/>
          </p:nvGrpSpPr>
          <p:grpSpPr>
            <a:xfrm rot="16200000">
              <a:off x="-1" y="-1"/>
              <a:ext cx="1657199" cy="1657199"/>
              <a:chOff x="0" y="0"/>
              <a:chExt cx="1657197" cy="1657197"/>
            </a:xfrm>
          </p:grpSpPr>
          <p:sp>
            <p:nvSpPr>
              <p:cNvPr id="883" name="Oval 6"/>
              <p:cNvSpPr/>
              <p:nvPr/>
            </p:nvSpPr>
            <p:spPr>
              <a:xfrm>
                <a:off x="0" y="0"/>
                <a:ext cx="1657198" cy="1657198"/>
              </a:xfrm>
              <a:prstGeom prst="ellipse">
                <a:avLst/>
              </a:prstGeom>
              <a:noFill/>
              <a:ln w="6350" cap="flat">
                <a:solidFill>
                  <a:srgbClr val="FFFFFF">
                    <a:alpha val="10461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137158" tIns="137158" rIns="137158" bIns="137158" numCol="1" anchor="ctr">
                <a:noAutofit/>
              </a:bodyPr>
              <a:lstStyle/>
              <a:p>
                <a:pPr marL="0" marR="0" lvl="0" indent="0" algn="ctr" defTabSz="3429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kumimoji="0" sz="675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4" name="Çizgi"/>
              <p:cNvSpPr/>
              <p:nvPr/>
            </p:nvSpPr>
            <p:spPr>
              <a:xfrm rot="10800000">
                <a:off x="4227" y="3984"/>
                <a:ext cx="1648698" cy="159647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5518" h="21448" extrusionOk="0">
                    <a:moveTo>
                      <a:pt x="10682" y="0"/>
                    </a:moveTo>
                    <a:cubicBezTo>
                      <a:pt x="18507" y="4569"/>
                      <a:pt x="16312" y="21295"/>
                      <a:pt x="7868" y="21447"/>
                    </a:cubicBezTo>
                    <a:cubicBezTo>
                      <a:pt x="-646" y="21600"/>
                      <a:pt x="-3093" y="4768"/>
                      <a:pt x="4751" y="0"/>
                    </a:cubicBezTo>
                  </a:path>
                </a:pathLst>
              </a:custGeom>
              <a:noFill/>
              <a:ln w="6350" cap="flat">
                <a:solidFill>
                  <a:srgbClr val="FFC40C"/>
                </a:solidFill>
                <a:prstDash val="solid"/>
                <a:miter lim="400000"/>
                <a:headEnd type="oval" w="med" len="med"/>
                <a:tailEnd type="oval" w="med" len="med"/>
              </a:ln>
              <a:effectLst/>
            </p:spPr>
            <p:txBody>
              <a:bodyPr wrap="square" lIns="137158" tIns="137158" rIns="137158" bIns="137158" numCol="1" anchor="ctr">
                <a:noAutofit/>
              </a:bodyPr>
              <a:lstStyle/>
              <a:p>
                <a:pPr marL="0" marR="0" lvl="0" indent="0" algn="ctr" defTabSz="323608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Helvetica Neue Medium"/>
                    <a:ea typeface="Helvetica Neue Medium"/>
                    <a:cs typeface="Helvetica Neue Medium"/>
                    <a:sym typeface="Helvetica Neue Medium"/>
                  </a:defRPr>
                </a:pPr>
                <a:endParaRPr kumimoji="0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 Neue Medium"/>
                  <a:ea typeface="Helvetica Neue Medium"/>
                  <a:cs typeface="Helvetica Neue Medium"/>
                  <a:sym typeface="Helvetica Neue Medium"/>
                </a:endParaRPr>
              </a:p>
            </p:txBody>
          </p:sp>
        </p:grpSp>
      </p:grpSp>
      <p:sp>
        <p:nvSpPr>
          <p:cNvPr id="887" name="Accessible…"/>
          <p:cNvSpPr txBox="1"/>
          <p:nvPr/>
        </p:nvSpPr>
        <p:spPr>
          <a:xfrm>
            <a:off x="1024995" y="1598593"/>
            <a:ext cx="1909493" cy="3637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0111" tIns="20111" rIns="20111" bIns="20111" anchor="ctr">
            <a:spAutoFit/>
          </a:bodyPr>
          <a:lstStyle/>
          <a:p>
            <a:pPr marL="0" marR="0" lvl="0" indent="0" algn="l" defTabSz="3265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solidFill>
                  <a:srgbClr val="FFFFFF"/>
                </a:solidFill>
                <a:latin typeface="Greycliff CF Light"/>
                <a:ea typeface="Greycliff CF Light"/>
                <a:cs typeface="Greycliff CF Light"/>
                <a:sym typeface="Greycliff CF Light"/>
              </a:defRPr>
            </a:pPr>
            <a:r>
              <a:rPr kumimoji="0" sz="1050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ea typeface="Greycliff CF Heavy"/>
                <a:cs typeface="Greycliff CF Heavy"/>
                <a:sym typeface="Greycliff CF Heavy"/>
              </a:rPr>
              <a:t>Accessible</a:t>
            </a:r>
            <a:r>
              <a:rPr kumimoji="0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Light"/>
                <a:ea typeface="Greycliff CF Light"/>
                <a:cs typeface="Greycliff CF Light"/>
                <a:sym typeface="Greycliff CF Light"/>
              </a:rPr>
              <a:t> </a:t>
            </a:r>
          </a:p>
          <a:p>
            <a:pPr marL="0" marR="0" lvl="0" indent="0" algn="l" defTabSz="3265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solidFill>
                  <a:srgbClr val="FFFFFF"/>
                </a:solidFill>
                <a:latin typeface="Greycliff CF Light"/>
                <a:ea typeface="Greycliff CF Light"/>
                <a:cs typeface="Greycliff CF Light"/>
                <a:sym typeface="Greycliff CF Light"/>
              </a:defRPr>
            </a:pPr>
            <a:r>
              <a:rPr kumimoji="0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Light"/>
                <a:ea typeface="Greycliff CF Light"/>
                <a:cs typeface="Greycliff CF Light"/>
                <a:sym typeface="Greycliff CF Light"/>
              </a:rPr>
              <a:t>to users of all operators</a:t>
            </a:r>
          </a:p>
        </p:txBody>
      </p:sp>
      <p:sp>
        <p:nvSpPr>
          <p:cNvPr id="893" name="5.2"/>
          <p:cNvSpPr txBox="1"/>
          <p:nvPr/>
        </p:nvSpPr>
        <p:spPr>
          <a:xfrm>
            <a:off x="2493862" y="3326944"/>
            <a:ext cx="829378" cy="3003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0111" tIns="20111" rIns="20111" bIns="20111" numCol="1" anchor="ctr">
            <a:spAutoFit/>
          </a:bodyPr>
          <a:lstStyle>
            <a:lvl1pPr defTabSz="1800545">
              <a:defRPr sz="4500">
                <a:solidFill>
                  <a:srgbClr val="FFC40C"/>
                </a:solidFill>
                <a:latin typeface="Greycliff CF Heavy"/>
                <a:ea typeface="Greycliff CF Heavy"/>
                <a:cs typeface="Greycliff CF Heavy"/>
                <a:sym typeface="Greycliff CF Heavy"/>
              </a:defRPr>
            </a:lvl1pPr>
          </a:lstStyle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88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sym typeface="Greycliff CF Heavy"/>
              </a:rPr>
              <a:t>5.2</a:t>
            </a:r>
            <a:r>
              <a:rPr kumimoji="0" lang="tr-TR" sz="1688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sym typeface="Greycliff CF Heavy"/>
              </a:rPr>
              <a:t> M</a:t>
            </a:r>
            <a:endParaRPr kumimoji="0" sz="1688" b="0" i="0" u="none" strike="noStrike" kern="0" cap="none" spc="0" normalizeH="0" baseline="0" noProof="0" dirty="0">
              <a:ln>
                <a:noFill/>
              </a:ln>
              <a:solidFill>
                <a:srgbClr val="FFC40C"/>
              </a:solidFill>
              <a:effectLst/>
              <a:uLnTx/>
              <a:uFillTx/>
              <a:latin typeface="Greycliff CF Heavy"/>
              <a:sym typeface="Greycliff CF Heavy"/>
            </a:endParaRPr>
          </a:p>
        </p:txBody>
      </p:sp>
      <p:sp>
        <p:nvSpPr>
          <p:cNvPr id="896" name="22.8"/>
          <p:cNvSpPr txBox="1"/>
          <p:nvPr/>
        </p:nvSpPr>
        <p:spPr>
          <a:xfrm>
            <a:off x="5983703" y="1970548"/>
            <a:ext cx="964139" cy="3003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0111" tIns="20111" rIns="20111" bIns="20111" numCol="1" anchor="ctr">
            <a:spAutoFit/>
          </a:bodyPr>
          <a:lstStyle>
            <a:lvl1pPr defTabSz="1800545">
              <a:defRPr sz="4500">
                <a:solidFill>
                  <a:srgbClr val="FFC40C"/>
                </a:solidFill>
                <a:latin typeface="Greycliff CF Heavy"/>
                <a:ea typeface="Greycliff CF Heavy"/>
                <a:cs typeface="Greycliff CF Heavy"/>
                <a:sym typeface="Greycliff CF Heavy"/>
              </a:defRPr>
            </a:lvl1pPr>
          </a:lstStyle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88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sym typeface="Greycliff CF Heavy"/>
              </a:rPr>
              <a:t>22.8</a:t>
            </a:r>
            <a:r>
              <a:rPr kumimoji="0" lang="tr-TR" sz="1688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sym typeface="Greycliff CF Heavy"/>
              </a:rPr>
              <a:t> M</a:t>
            </a:r>
            <a:endParaRPr kumimoji="0" sz="1688" b="0" i="0" u="none" strike="noStrike" kern="0" cap="none" spc="0" normalizeH="0" baseline="0" noProof="0" dirty="0">
              <a:ln>
                <a:noFill/>
              </a:ln>
              <a:solidFill>
                <a:srgbClr val="FFC40C"/>
              </a:solidFill>
              <a:effectLst/>
              <a:uLnTx/>
              <a:uFillTx/>
              <a:latin typeface="Greycliff CF Heavy"/>
              <a:sym typeface="Greycliff CF Heavy"/>
            </a:endParaRPr>
          </a:p>
        </p:txBody>
      </p:sp>
      <p:sp>
        <p:nvSpPr>
          <p:cNvPr id="81" name="5.2">
            <a:extLst>
              <a:ext uri="{FF2B5EF4-FFF2-40B4-BE49-F238E27FC236}">
                <a16:creationId xmlns:a16="http://schemas.microsoft.com/office/drawing/2014/main" id="{A54226E5-B7F1-854D-AEB4-6BFE366AAA0F}"/>
              </a:ext>
            </a:extLst>
          </p:cNvPr>
          <p:cNvSpPr txBox="1"/>
          <p:nvPr/>
        </p:nvSpPr>
        <p:spPr>
          <a:xfrm>
            <a:off x="1413932" y="3858056"/>
            <a:ext cx="659348" cy="3003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0111" tIns="20111" rIns="20111" bIns="20111" numCol="1" anchor="ctr">
            <a:spAutoFit/>
          </a:bodyPr>
          <a:lstStyle>
            <a:lvl1pPr defTabSz="1800545">
              <a:defRPr sz="4500">
                <a:solidFill>
                  <a:srgbClr val="FFC40C"/>
                </a:solidFill>
                <a:latin typeface="Greycliff CF Heavy"/>
                <a:ea typeface="Greycliff CF Heavy"/>
                <a:cs typeface="Greycliff CF Heavy"/>
                <a:sym typeface="Greycliff CF Heavy"/>
              </a:defRPr>
            </a:lvl1pPr>
          </a:lstStyle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88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sym typeface="Greycliff CF Heavy"/>
              </a:rPr>
              <a:t>0.9 M</a:t>
            </a:r>
            <a:endParaRPr kumimoji="0" sz="1688" b="0" i="0" u="none" strike="noStrike" kern="0" cap="none" spc="0" normalizeH="0" baseline="0" noProof="0" dirty="0">
              <a:ln>
                <a:noFill/>
              </a:ln>
              <a:solidFill>
                <a:srgbClr val="FFC40C"/>
              </a:solidFill>
              <a:effectLst/>
              <a:uLnTx/>
              <a:uFillTx/>
              <a:latin typeface="Greycliff CF Heavy"/>
              <a:sym typeface="Greycliff CF Heavy"/>
            </a:endParaRPr>
          </a:p>
        </p:txBody>
      </p:sp>
      <p:sp>
        <p:nvSpPr>
          <p:cNvPr id="84" name="5.2">
            <a:extLst>
              <a:ext uri="{FF2B5EF4-FFF2-40B4-BE49-F238E27FC236}">
                <a16:creationId xmlns:a16="http://schemas.microsoft.com/office/drawing/2014/main" id="{C0DBEF39-06E1-FC45-A952-F03F1E6ED1C8}"/>
              </a:ext>
            </a:extLst>
          </p:cNvPr>
          <p:cNvSpPr txBox="1"/>
          <p:nvPr/>
        </p:nvSpPr>
        <p:spPr>
          <a:xfrm>
            <a:off x="3656914" y="2808322"/>
            <a:ext cx="885956" cy="3003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0111" tIns="20111" rIns="20111" bIns="20111" numCol="1" anchor="ctr">
            <a:spAutoFit/>
          </a:bodyPr>
          <a:lstStyle>
            <a:lvl1pPr defTabSz="1800545">
              <a:defRPr sz="4500">
                <a:solidFill>
                  <a:srgbClr val="FFC40C"/>
                </a:solidFill>
                <a:latin typeface="Greycliff CF Heavy"/>
                <a:ea typeface="Greycliff CF Heavy"/>
                <a:cs typeface="Greycliff CF Heavy"/>
                <a:sym typeface="Greycliff CF Heavy"/>
              </a:defRPr>
            </a:lvl1pPr>
          </a:lstStyle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88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sym typeface="Greycliff CF Heavy"/>
              </a:rPr>
              <a:t>16.4 M</a:t>
            </a:r>
            <a:endParaRPr kumimoji="0" sz="1688" b="0" i="0" u="none" strike="noStrike" kern="0" cap="none" spc="0" normalizeH="0" baseline="0" noProof="0" dirty="0">
              <a:ln>
                <a:noFill/>
              </a:ln>
              <a:solidFill>
                <a:srgbClr val="FFC40C"/>
              </a:solidFill>
              <a:effectLst/>
              <a:uLnTx/>
              <a:uFillTx/>
              <a:latin typeface="Greycliff CF Heavy"/>
              <a:sym typeface="Greycliff CF Heavy"/>
            </a:endParaRPr>
          </a:p>
        </p:txBody>
      </p:sp>
      <p:sp>
        <p:nvSpPr>
          <p:cNvPr id="87" name="5.2">
            <a:extLst>
              <a:ext uri="{FF2B5EF4-FFF2-40B4-BE49-F238E27FC236}">
                <a16:creationId xmlns:a16="http://schemas.microsoft.com/office/drawing/2014/main" id="{258B8649-3762-8F41-B412-F6EB27F167FC}"/>
              </a:ext>
            </a:extLst>
          </p:cNvPr>
          <p:cNvSpPr txBox="1"/>
          <p:nvPr/>
        </p:nvSpPr>
        <p:spPr>
          <a:xfrm>
            <a:off x="4931690" y="2302490"/>
            <a:ext cx="718017" cy="3003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0111" tIns="20111" rIns="20111" bIns="20111" numCol="1" anchor="ctr">
            <a:spAutoFit/>
          </a:bodyPr>
          <a:lstStyle>
            <a:lvl1pPr defTabSz="1800545">
              <a:defRPr sz="4500">
                <a:solidFill>
                  <a:srgbClr val="FFC40C"/>
                </a:solidFill>
                <a:latin typeface="Greycliff CF Heavy"/>
                <a:ea typeface="Greycliff CF Heavy"/>
                <a:cs typeface="Greycliff CF Heavy"/>
                <a:sym typeface="Greycliff CF Heavy"/>
              </a:defRPr>
            </a:lvl1pPr>
          </a:lstStyle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88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sym typeface="Greycliff CF Heavy"/>
              </a:rPr>
              <a:t>21.1 M</a:t>
            </a:r>
            <a:endParaRPr kumimoji="0" sz="1688" b="0" i="0" u="none" strike="noStrike" kern="0" cap="none" spc="0" normalizeH="0" baseline="0" noProof="0" dirty="0">
              <a:ln>
                <a:noFill/>
              </a:ln>
              <a:solidFill>
                <a:srgbClr val="FFC40C"/>
              </a:solidFill>
              <a:effectLst/>
              <a:uLnTx/>
              <a:uFillTx/>
              <a:latin typeface="Greycliff CF Heavy"/>
              <a:sym typeface="Greycliff CF Heavy"/>
            </a:endParaRPr>
          </a:p>
        </p:txBody>
      </p:sp>
      <p:sp>
        <p:nvSpPr>
          <p:cNvPr id="93" name="5.2">
            <a:extLst>
              <a:ext uri="{FF2B5EF4-FFF2-40B4-BE49-F238E27FC236}">
                <a16:creationId xmlns:a16="http://schemas.microsoft.com/office/drawing/2014/main" id="{E9E81DA6-E426-6D41-B3C8-124D07F95155}"/>
              </a:ext>
            </a:extLst>
          </p:cNvPr>
          <p:cNvSpPr txBox="1"/>
          <p:nvPr/>
        </p:nvSpPr>
        <p:spPr>
          <a:xfrm>
            <a:off x="265679" y="4009299"/>
            <a:ext cx="659348" cy="3003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0111" tIns="20111" rIns="20111" bIns="20111" numCol="1" anchor="ctr">
            <a:spAutoFit/>
          </a:bodyPr>
          <a:lstStyle>
            <a:lvl1pPr defTabSz="1800545">
              <a:defRPr sz="4500">
                <a:solidFill>
                  <a:srgbClr val="FFC40C"/>
                </a:solidFill>
                <a:latin typeface="Greycliff CF Heavy"/>
                <a:ea typeface="Greycliff CF Heavy"/>
                <a:cs typeface="Greycliff CF Heavy"/>
                <a:sym typeface="Greycliff CF Heavy"/>
              </a:defRPr>
            </a:lvl1pPr>
          </a:lstStyle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88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Heavy"/>
                <a:sym typeface="Greycliff CF Heavy"/>
              </a:rPr>
              <a:t>50 K</a:t>
            </a:r>
            <a:endParaRPr kumimoji="0" sz="1688" b="0" i="0" u="none" strike="noStrike" kern="0" cap="none" spc="0" normalizeH="0" baseline="0" noProof="0" dirty="0">
              <a:ln>
                <a:noFill/>
              </a:ln>
              <a:solidFill>
                <a:srgbClr val="FFC40C"/>
              </a:solidFill>
              <a:effectLst/>
              <a:uLnTx/>
              <a:uFillTx/>
              <a:latin typeface="Greycliff CF Heavy"/>
              <a:sym typeface="Greycliff CF Heavy"/>
            </a:endParaRPr>
          </a:p>
        </p:txBody>
      </p:sp>
      <p:sp>
        <p:nvSpPr>
          <p:cNvPr id="80" name="Header Enrichment Effect">
            <a:extLst>
              <a:ext uri="{FF2B5EF4-FFF2-40B4-BE49-F238E27FC236}">
                <a16:creationId xmlns:a16="http://schemas.microsoft.com/office/drawing/2014/main" id="{9CF31640-AB58-7344-97D8-EF70FC438DC4}"/>
              </a:ext>
            </a:extLst>
          </p:cNvPr>
          <p:cNvSpPr txBox="1"/>
          <p:nvPr/>
        </p:nvSpPr>
        <p:spPr>
          <a:xfrm>
            <a:off x="16933" y="4625606"/>
            <a:ext cx="1093433" cy="1560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0111" tIns="20111" rIns="20111" bIns="20111" numCol="1" anchor="ctr">
            <a:spAutoFit/>
          </a:bodyPr>
          <a:lstStyle/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>
                <a:solidFill>
                  <a:srgbClr val="FFFFFF"/>
                </a:solidFill>
                <a:latin typeface="Greycliff CF Medium"/>
                <a:ea typeface="Greycliff CF Medium"/>
                <a:cs typeface="Greycliff CF Medium"/>
                <a:sym typeface="Greycliff CF Medium"/>
              </a:defRPr>
            </a:pPr>
            <a:r>
              <a:rPr kumimoji="0" lang="tr-TR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rPr>
              <a:t>SEP 2016</a:t>
            </a:r>
            <a:endParaRPr kumimoji="0" sz="7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eycliff CF Medium"/>
              <a:ea typeface="Greycliff CF Medium"/>
              <a:cs typeface="Greycliff CF Medium"/>
              <a:sym typeface="Greycliff CF Medium"/>
            </a:endParaRPr>
          </a:p>
        </p:txBody>
      </p:sp>
      <p:sp>
        <p:nvSpPr>
          <p:cNvPr id="70" name="Header Enrichment Effect">
            <a:extLst>
              <a:ext uri="{FF2B5EF4-FFF2-40B4-BE49-F238E27FC236}">
                <a16:creationId xmlns:a16="http://schemas.microsoft.com/office/drawing/2014/main" id="{0C1CDAD1-3B3E-DE43-A6A8-E47286BF07E8}"/>
              </a:ext>
            </a:extLst>
          </p:cNvPr>
          <p:cNvSpPr txBox="1"/>
          <p:nvPr/>
        </p:nvSpPr>
        <p:spPr>
          <a:xfrm>
            <a:off x="1424881" y="4626809"/>
            <a:ext cx="650603" cy="1560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0111" tIns="20111" rIns="20111" bIns="20111" numCol="1" anchor="ctr">
            <a:spAutoFit/>
          </a:bodyPr>
          <a:lstStyle/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>
                <a:solidFill>
                  <a:srgbClr val="FFFFFF"/>
                </a:solidFill>
                <a:latin typeface="Greycliff CF Medium"/>
                <a:ea typeface="Greycliff CF Medium"/>
                <a:cs typeface="Greycliff CF Medium"/>
                <a:sym typeface="Greycliff CF Medium"/>
              </a:defRPr>
            </a:pPr>
            <a:r>
              <a:rPr kumimoji="0" lang="tr-TR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rPr>
              <a:t>DEC 2017</a:t>
            </a:r>
            <a:endParaRPr kumimoji="0" sz="7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eycliff CF Medium"/>
              <a:ea typeface="Greycliff CF Medium"/>
              <a:cs typeface="Greycliff CF Medium"/>
              <a:sym typeface="Greycliff CF Medium"/>
            </a:endParaRPr>
          </a:p>
        </p:txBody>
      </p:sp>
      <p:sp>
        <p:nvSpPr>
          <p:cNvPr id="71" name="Header Enrichment Effect">
            <a:extLst>
              <a:ext uri="{FF2B5EF4-FFF2-40B4-BE49-F238E27FC236}">
                <a16:creationId xmlns:a16="http://schemas.microsoft.com/office/drawing/2014/main" id="{2094DBCB-AF64-1447-BFDA-155F03C5A039}"/>
              </a:ext>
            </a:extLst>
          </p:cNvPr>
          <p:cNvSpPr txBox="1"/>
          <p:nvPr/>
        </p:nvSpPr>
        <p:spPr>
          <a:xfrm>
            <a:off x="2606469" y="4626725"/>
            <a:ext cx="656038" cy="1560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0111" tIns="20111" rIns="20111" bIns="20111" numCol="1" anchor="ctr">
            <a:spAutoFit/>
          </a:bodyPr>
          <a:lstStyle/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>
                <a:solidFill>
                  <a:srgbClr val="FFFFFF"/>
                </a:solidFill>
                <a:latin typeface="Greycliff CF Medium"/>
                <a:ea typeface="Greycliff CF Medium"/>
                <a:cs typeface="Greycliff CF Medium"/>
                <a:sym typeface="Greycliff CF Medium"/>
              </a:defRPr>
            </a:pPr>
            <a:r>
              <a:rPr kumimoji="0" lang="tr-TR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rPr>
              <a:t>JAN 2018</a:t>
            </a:r>
            <a:endParaRPr kumimoji="0" sz="7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eycliff CF Medium"/>
              <a:ea typeface="Greycliff CF Medium"/>
              <a:cs typeface="Greycliff CF Medium"/>
              <a:sym typeface="Greycliff CF Medium"/>
            </a:endParaRPr>
          </a:p>
        </p:txBody>
      </p:sp>
      <p:sp>
        <p:nvSpPr>
          <p:cNvPr id="72" name="Header Enrichment Effect">
            <a:extLst>
              <a:ext uri="{FF2B5EF4-FFF2-40B4-BE49-F238E27FC236}">
                <a16:creationId xmlns:a16="http://schemas.microsoft.com/office/drawing/2014/main" id="{14A6DA14-5028-B94A-BFED-A6763480B568}"/>
              </a:ext>
            </a:extLst>
          </p:cNvPr>
          <p:cNvSpPr txBox="1"/>
          <p:nvPr/>
        </p:nvSpPr>
        <p:spPr>
          <a:xfrm>
            <a:off x="3761558" y="4626725"/>
            <a:ext cx="718809" cy="1560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0111" tIns="20111" rIns="20111" bIns="20111" numCol="1" anchor="ctr">
            <a:spAutoFit/>
          </a:bodyPr>
          <a:lstStyle/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>
                <a:solidFill>
                  <a:srgbClr val="FFFFFF"/>
                </a:solidFill>
                <a:latin typeface="Greycliff CF Medium"/>
                <a:ea typeface="Greycliff CF Medium"/>
                <a:cs typeface="Greycliff CF Medium"/>
                <a:sym typeface="Greycliff CF Medium"/>
              </a:defRPr>
            </a:pPr>
            <a:r>
              <a:rPr kumimoji="0" lang="tr-TR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rPr>
              <a:t>MAR 2018</a:t>
            </a:r>
            <a:endParaRPr kumimoji="0" sz="7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eycliff CF Medium"/>
              <a:ea typeface="Greycliff CF Medium"/>
              <a:cs typeface="Greycliff CF Medium"/>
              <a:sym typeface="Greycliff CF Medium"/>
            </a:endParaRPr>
          </a:p>
        </p:txBody>
      </p:sp>
      <p:sp>
        <p:nvSpPr>
          <p:cNvPr id="73" name="Header Enrichment Effect">
            <a:extLst>
              <a:ext uri="{FF2B5EF4-FFF2-40B4-BE49-F238E27FC236}">
                <a16:creationId xmlns:a16="http://schemas.microsoft.com/office/drawing/2014/main" id="{149D72AA-F88B-3F46-BEE5-D4F8D25E8357}"/>
              </a:ext>
            </a:extLst>
          </p:cNvPr>
          <p:cNvSpPr txBox="1"/>
          <p:nvPr/>
        </p:nvSpPr>
        <p:spPr>
          <a:xfrm>
            <a:off x="4922427" y="4621256"/>
            <a:ext cx="781582" cy="1560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0111" tIns="20111" rIns="20111" bIns="20111" numCol="1" anchor="ctr">
            <a:spAutoFit/>
          </a:bodyPr>
          <a:lstStyle/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>
                <a:solidFill>
                  <a:srgbClr val="FFFFFF"/>
                </a:solidFill>
                <a:latin typeface="Greycliff CF Medium"/>
                <a:ea typeface="Greycliff CF Medium"/>
                <a:cs typeface="Greycliff CF Medium"/>
                <a:sym typeface="Greycliff CF Medium"/>
              </a:defRPr>
            </a:pPr>
            <a:r>
              <a:rPr kumimoji="0" lang="tr-TR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rPr>
              <a:t>MAY 2018</a:t>
            </a:r>
            <a:endParaRPr kumimoji="0" sz="7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eycliff CF Medium"/>
              <a:ea typeface="Greycliff CF Medium"/>
              <a:cs typeface="Greycliff CF Medium"/>
              <a:sym typeface="Greycliff CF Medium"/>
            </a:endParaRPr>
          </a:p>
        </p:txBody>
      </p:sp>
      <p:sp>
        <p:nvSpPr>
          <p:cNvPr id="74" name="Header Enrichment Effect">
            <a:extLst>
              <a:ext uri="{FF2B5EF4-FFF2-40B4-BE49-F238E27FC236}">
                <a16:creationId xmlns:a16="http://schemas.microsoft.com/office/drawing/2014/main" id="{9F6357F5-335E-D841-AC60-008C5AD1B7FF}"/>
              </a:ext>
            </a:extLst>
          </p:cNvPr>
          <p:cNvSpPr txBox="1"/>
          <p:nvPr/>
        </p:nvSpPr>
        <p:spPr>
          <a:xfrm>
            <a:off x="6042736" y="4621061"/>
            <a:ext cx="847735" cy="1560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0111" tIns="20111" rIns="20111" bIns="20111" numCol="1" anchor="ctr">
            <a:spAutoFit/>
          </a:bodyPr>
          <a:lstStyle/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>
                <a:solidFill>
                  <a:srgbClr val="FFFFFF"/>
                </a:solidFill>
                <a:latin typeface="Greycliff CF Medium"/>
                <a:ea typeface="Greycliff CF Medium"/>
                <a:cs typeface="Greycliff CF Medium"/>
                <a:sym typeface="Greycliff CF Medium"/>
              </a:defRPr>
            </a:pPr>
            <a:r>
              <a:rPr kumimoji="0" lang="tr-TR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rPr>
              <a:t>AUG 2018</a:t>
            </a:r>
            <a:endParaRPr kumimoji="0" sz="7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eycliff CF Medium"/>
              <a:ea typeface="Greycliff CF Medium"/>
              <a:cs typeface="Greycliff CF Medium"/>
              <a:sym typeface="Greycliff CF Medium"/>
            </a:endParaRPr>
          </a:p>
        </p:txBody>
      </p:sp>
      <p:sp>
        <p:nvSpPr>
          <p:cNvPr id="82" name="Dikdörtgen 81">
            <a:extLst>
              <a:ext uri="{FF2B5EF4-FFF2-40B4-BE49-F238E27FC236}">
                <a16:creationId xmlns:a16="http://schemas.microsoft.com/office/drawing/2014/main" id="{A69E5147-36E3-A441-B154-638DE72DBC1F}"/>
              </a:ext>
            </a:extLst>
          </p:cNvPr>
          <p:cNvSpPr/>
          <p:nvPr/>
        </p:nvSpPr>
        <p:spPr>
          <a:xfrm flipH="1">
            <a:off x="327298" y="4274105"/>
            <a:ext cx="566021" cy="124506"/>
          </a:xfrm>
          <a:prstGeom prst="rect">
            <a:avLst/>
          </a:prstGeom>
          <a:gradFill>
            <a:gsLst>
              <a:gs pos="0">
                <a:srgbClr val="00AEE9"/>
              </a:gs>
              <a:gs pos="100000">
                <a:srgbClr val="0080BC"/>
              </a:gs>
            </a:gsLst>
            <a:lin ang="5400000" scaled="0"/>
          </a:gra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61348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j-ea"/>
              <a:cs typeface="Helvetica"/>
              <a:sym typeface="Helvetica"/>
            </a:endParaRPr>
          </a:p>
        </p:txBody>
      </p:sp>
      <p:sp>
        <p:nvSpPr>
          <p:cNvPr id="76" name="Dikdörtgen 75">
            <a:extLst>
              <a:ext uri="{FF2B5EF4-FFF2-40B4-BE49-F238E27FC236}">
                <a16:creationId xmlns:a16="http://schemas.microsoft.com/office/drawing/2014/main" id="{9F04A61B-2201-5748-A43C-E562A41639CC}"/>
              </a:ext>
            </a:extLst>
          </p:cNvPr>
          <p:cNvSpPr/>
          <p:nvPr/>
        </p:nvSpPr>
        <p:spPr>
          <a:xfrm>
            <a:off x="2642032" y="3572309"/>
            <a:ext cx="525978" cy="824464"/>
          </a:xfrm>
          <a:prstGeom prst="rect">
            <a:avLst/>
          </a:prstGeom>
          <a:gradFill>
            <a:gsLst>
              <a:gs pos="0">
                <a:srgbClr val="00AEE9"/>
              </a:gs>
              <a:gs pos="100000">
                <a:srgbClr val="0080BC"/>
              </a:gs>
            </a:gsLst>
            <a:lin ang="5400000" scaled="0"/>
          </a:gra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61348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j-ea"/>
              <a:cs typeface="Helvetica"/>
              <a:sym typeface="Helvetica"/>
            </a:endParaRPr>
          </a:p>
        </p:txBody>
      </p:sp>
      <p:sp>
        <p:nvSpPr>
          <p:cNvPr id="77" name="Dikdörtgen 76">
            <a:extLst>
              <a:ext uri="{FF2B5EF4-FFF2-40B4-BE49-F238E27FC236}">
                <a16:creationId xmlns:a16="http://schemas.microsoft.com/office/drawing/2014/main" id="{C0227CF8-B076-FD44-A6A9-02994B0F52E9}"/>
              </a:ext>
            </a:extLst>
          </p:cNvPr>
          <p:cNvSpPr/>
          <p:nvPr/>
        </p:nvSpPr>
        <p:spPr>
          <a:xfrm>
            <a:off x="3791842" y="3112977"/>
            <a:ext cx="557779" cy="1288470"/>
          </a:xfrm>
          <a:prstGeom prst="rect">
            <a:avLst/>
          </a:prstGeom>
          <a:gradFill>
            <a:gsLst>
              <a:gs pos="0">
                <a:srgbClr val="00AEE9"/>
              </a:gs>
              <a:gs pos="100000">
                <a:srgbClr val="0080BC"/>
              </a:gs>
            </a:gsLst>
            <a:lin ang="5400000" scaled="0"/>
          </a:gra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61348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j-ea"/>
              <a:cs typeface="Helvetica"/>
              <a:sym typeface="Helvetica"/>
            </a:endParaRPr>
          </a:p>
        </p:txBody>
      </p:sp>
      <p:sp>
        <p:nvSpPr>
          <p:cNvPr id="78" name="Dikdörtgen 77">
            <a:extLst>
              <a:ext uri="{FF2B5EF4-FFF2-40B4-BE49-F238E27FC236}">
                <a16:creationId xmlns:a16="http://schemas.microsoft.com/office/drawing/2014/main" id="{8560153B-8E7E-B846-A015-4D751885E370}"/>
              </a:ext>
            </a:extLst>
          </p:cNvPr>
          <p:cNvSpPr/>
          <p:nvPr/>
        </p:nvSpPr>
        <p:spPr>
          <a:xfrm>
            <a:off x="4931690" y="2634767"/>
            <a:ext cx="635131" cy="1770130"/>
          </a:xfrm>
          <a:prstGeom prst="rect">
            <a:avLst/>
          </a:prstGeom>
          <a:gradFill>
            <a:gsLst>
              <a:gs pos="0">
                <a:srgbClr val="00AEE9"/>
              </a:gs>
              <a:gs pos="100000">
                <a:srgbClr val="0080BC"/>
              </a:gs>
            </a:gsLst>
            <a:lin ang="5400000" scaled="0"/>
          </a:gra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61348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j-ea"/>
              <a:cs typeface="Helvetica"/>
              <a:sym typeface="Helvetica"/>
            </a:endParaRPr>
          </a:p>
        </p:txBody>
      </p:sp>
      <p:sp>
        <p:nvSpPr>
          <p:cNvPr id="79" name="Dikdörtgen 78">
            <a:extLst>
              <a:ext uri="{FF2B5EF4-FFF2-40B4-BE49-F238E27FC236}">
                <a16:creationId xmlns:a16="http://schemas.microsoft.com/office/drawing/2014/main" id="{B526D843-2C69-1443-B88F-FD997D06C896}"/>
              </a:ext>
            </a:extLst>
          </p:cNvPr>
          <p:cNvSpPr/>
          <p:nvPr/>
        </p:nvSpPr>
        <p:spPr>
          <a:xfrm>
            <a:off x="6008193" y="2289273"/>
            <a:ext cx="691399" cy="2108737"/>
          </a:xfrm>
          <a:prstGeom prst="rect">
            <a:avLst/>
          </a:prstGeom>
          <a:gradFill>
            <a:gsLst>
              <a:gs pos="0">
                <a:srgbClr val="00AEE9"/>
              </a:gs>
              <a:gs pos="100000">
                <a:srgbClr val="0080BC"/>
              </a:gs>
            </a:gsLst>
            <a:lin ang="5400000" scaled="0"/>
          </a:gra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61348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j-ea"/>
              <a:cs typeface="Helvetica"/>
              <a:sym typeface="Helvetica"/>
            </a:endParaRPr>
          </a:p>
        </p:txBody>
      </p:sp>
      <p:sp>
        <p:nvSpPr>
          <p:cNvPr id="898" name="Çizgi"/>
          <p:cNvSpPr/>
          <p:nvPr/>
        </p:nvSpPr>
        <p:spPr>
          <a:xfrm flipV="1">
            <a:off x="281492" y="4404897"/>
            <a:ext cx="8706176" cy="2496"/>
          </a:xfrm>
          <a:prstGeom prst="line">
            <a:avLst/>
          </a:prstGeom>
          <a:noFill/>
          <a:ln w="3175" cap="flat">
            <a:solidFill>
              <a:srgbClr val="FFFFFF">
                <a:alpha val="49000"/>
              </a:srgbClr>
            </a:solidFill>
            <a:prstDash val="solid"/>
            <a:round/>
          </a:ln>
          <a:effectLst/>
        </p:spPr>
        <p:txBody>
          <a:bodyPr wrap="square" lIns="18100" tIns="18100" rIns="18100" bIns="18100" numCol="1" anchor="t">
            <a:noAutofit/>
          </a:bodyPr>
          <a:lstStyle/>
          <a:p>
            <a:pPr marL="0" marR="0" lvl="0" indent="0" algn="ctr" defTabSz="30674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ＭＳ Ｐゴシック" charset="0"/>
              <a:cs typeface="Arial" charset="0"/>
              <a:sym typeface="Helvetica"/>
            </a:endParaRPr>
          </a:p>
        </p:txBody>
      </p:sp>
      <p:sp>
        <p:nvSpPr>
          <p:cNvPr id="2" name="Dikdörtgen 1">
            <a:extLst>
              <a:ext uri="{FF2B5EF4-FFF2-40B4-BE49-F238E27FC236}">
                <a16:creationId xmlns:a16="http://schemas.microsoft.com/office/drawing/2014/main" id="{9D56AED0-E9D2-2148-BBE4-24920B7477FA}"/>
              </a:ext>
            </a:extLst>
          </p:cNvPr>
          <p:cNvSpPr/>
          <p:nvPr/>
        </p:nvSpPr>
        <p:spPr>
          <a:xfrm flipH="1">
            <a:off x="1463219" y="4119089"/>
            <a:ext cx="592256" cy="277683"/>
          </a:xfrm>
          <a:prstGeom prst="rect">
            <a:avLst/>
          </a:prstGeom>
          <a:gradFill>
            <a:gsLst>
              <a:gs pos="0">
                <a:srgbClr val="00AEE9"/>
              </a:gs>
              <a:gs pos="100000">
                <a:srgbClr val="0080BC"/>
              </a:gs>
            </a:gsLst>
            <a:lin ang="5400000" scaled="0"/>
          </a:gra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61348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j-ea"/>
              <a:cs typeface="Helvetica"/>
              <a:sym typeface="Helvetica"/>
            </a:endParaRPr>
          </a:p>
        </p:txBody>
      </p:sp>
      <p:grpSp>
        <p:nvGrpSpPr>
          <p:cNvPr id="20" name="Grup 19">
            <a:extLst>
              <a:ext uri="{FF2B5EF4-FFF2-40B4-BE49-F238E27FC236}">
                <a16:creationId xmlns:a16="http://schemas.microsoft.com/office/drawing/2014/main" id="{F9B281F9-A48A-BC42-830A-DF03085AC8E9}"/>
              </a:ext>
            </a:extLst>
          </p:cNvPr>
          <p:cNvGrpSpPr/>
          <p:nvPr/>
        </p:nvGrpSpPr>
        <p:grpSpPr>
          <a:xfrm>
            <a:off x="6417" y="2674604"/>
            <a:ext cx="1192391" cy="928503"/>
            <a:chOff x="688003" y="3939419"/>
            <a:chExt cx="1589854" cy="1238004"/>
          </a:xfrm>
        </p:grpSpPr>
        <p:grpSp>
          <p:nvGrpSpPr>
            <p:cNvPr id="5" name="Grup 4">
              <a:extLst>
                <a:ext uri="{FF2B5EF4-FFF2-40B4-BE49-F238E27FC236}">
                  <a16:creationId xmlns:a16="http://schemas.microsoft.com/office/drawing/2014/main" id="{64E4479B-DC7C-8244-829F-5095B516FB25}"/>
                </a:ext>
              </a:extLst>
            </p:cNvPr>
            <p:cNvGrpSpPr/>
            <p:nvPr/>
          </p:nvGrpSpPr>
          <p:grpSpPr>
            <a:xfrm>
              <a:off x="1115845" y="4381970"/>
              <a:ext cx="374400" cy="374400"/>
              <a:chOff x="1427545" y="5601107"/>
              <a:chExt cx="374400" cy="374400"/>
            </a:xfrm>
          </p:grpSpPr>
          <p:sp>
            <p:nvSpPr>
              <p:cNvPr id="95" name="Grup">
                <a:extLst>
                  <a:ext uri="{FF2B5EF4-FFF2-40B4-BE49-F238E27FC236}">
                    <a16:creationId xmlns:a16="http://schemas.microsoft.com/office/drawing/2014/main" id="{D1D1EE78-BEFB-A049-BF44-1448D86F01D4}"/>
                  </a:ext>
                </a:extLst>
              </p:cNvPr>
              <p:cNvSpPr/>
              <p:nvPr/>
            </p:nvSpPr>
            <p:spPr>
              <a:xfrm>
                <a:off x="1427545" y="5601107"/>
                <a:ext cx="374400" cy="374400"/>
              </a:xfrm>
              <a:prstGeom prst="roundRect">
                <a:avLst>
                  <a:gd name="adj" fmla="val 15000"/>
                </a:avLst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306745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"/>
                  <a:ea typeface="ＭＳ Ｐゴシック" charset="0"/>
                  <a:cs typeface="Arial" charset="0"/>
                  <a:sym typeface="Helvetica"/>
                </a:endParaRPr>
              </a:p>
            </p:txBody>
          </p:sp>
          <p:pic>
            <p:nvPicPr>
              <p:cNvPr id="96" name="online-shop.png">
                <a:extLst>
                  <a:ext uri="{FF2B5EF4-FFF2-40B4-BE49-F238E27FC236}">
                    <a16:creationId xmlns:a16="http://schemas.microsoft.com/office/drawing/2014/main" id="{FA385851-F05B-0845-8C96-8BC16959F8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509546" y="5682085"/>
                <a:ext cx="238581" cy="23858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grpSp>
          <p:nvGrpSpPr>
            <p:cNvPr id="9" name="Grup 8">
              <a:extLst>
                <a:ext uri="{FF2B5EF4-FFF2-40B4-BE49-F238E27FC236}">
                  <a16:creationId xmlns:a16="http://schemas.microsoft.com/office/drawing/2014/main" id="{E57FCF11-A6F8-B84A-82A7-0DF2AE8D1294}"/>
                </a:ext>
              </a:extLst>
            </p:cNvPr>
            <p:cNvGrpSpPr/>
            <p:nvPr/>
          </p:nvGrpSpPr>
          <p:grpSpPr>
            <a:xfrm>
              <a:off x="688003" y="3939419"/>
              <a:ext cx="1589854" cy="376051"/>
              <a:chOff x="833124" y="5016041"/>
              <a:chExt cx="1589854" cy="376051"/>
            </a:xfrm>
          </p:grpSpPr>
          <p:sp>
            <p:nvSpPr>
              <p:cNvPr id="85" name="Header Enrichment Effect">
                <a:extLst>
                  <a:ext uri="{FF2B5EF4-FFF2-40B4-BE49-F238E27FC236}">
                    <a16:creationId xmlns:a16="http://schemas.microsoft.com/office/drawing/2014/main" id="{C85352EA-83C0-F740-AB5F-D3BC06A65D10}"/>
                  </a:ext>
                </a:extLst>
              </p:cNvPr>
              <p:cNvSpPr txBox="1"/>
              <p:nvPr/>
            </p:nvSpPr>
            <p:spPr>
              <a:xfrm>
                <a:off x="843248" y="5016041"/>
                <a:ext cx="1579730" cy="2080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20111" tIns="20111" rIns="20111" bIns="20111" numCol="1" anchor="ctr">
                <a:spAutoFit/>
              </a:bodyPr>
              <a:lstStyle/>
              <a:p>
                <a:pPr marL="0" marR="0" lvl="0" indent="0" algn="ctr" defTabSz="675205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500">
                    <a:solidFill>
                      <a:srgbClr val="FFFFFF"/>
                    </a:solidFill>
                    <a:latin typeface="Greycliff CF Medium"/>
                    <a:ea typeface="Greycliff CF Medium"/>
                    <a:cs typeface="Greycliff CF Medium"/>
                    <a:sym typeface="Greycliff CF Medium"/>
                  </a:defRPr>
                </a:pPr>
                <a:r>
                  <a:rPr kumimoji="0" sz="7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Greycliff CF Medium"/>
                    <a:ea typeface="Greycliff CF Medium"/>
                    <a:cs typeface="Greycliff CF Medium"/>
                    <a:sym typeface="Greycliff CF Medium"/>
                  </a:rPr>
                  <a:t> </a:t>
                </a:r>
                <a:r>
                  <a:rPr kumimoji="0" lang="tr-TR" sz="75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C40C"/>
                    </a:solidFill>
                    <a:effectLst/>
                    <a:uLnTx/>
                    <a:uFillTx/>
                    <a:latin typeface="Greycliff CF Heavy"/>
                    <a:ea typeface="Greycliff CF Heavy"/>
                    <a:cs typeface="Greycliff CF Heavy"/>
                    <a:sym typeface="Greycliff CF Heavy"/>
                  </a:rPr>
                  <a:t>Repositioning</a:t>
                </a:r>
                <a:r>
                  <a:rPr kumimoji="0" sz="7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Greycliff CF Medium"/>
                    <a:ea typeface="Greycliff CF Medium"/>
                    <a:cs typeface="Greycliff CF Medium"/>
                    <a:sym typeface="Greycliff CF Medium"/>
                  </a:rPr>
                  <a:t> </a:t>
                </a:r>
                <a:endParaRPr kumimoji="0" lang="tr-TR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/>
                  <a:ea typeface="Greycliff CF Medium"/>
                  <a:cs typeface="Greycliff CF Medium"/>
                  <a:sym typeface="Greycliff CF Medium"/>
                </a:endParaRPr>
              </a:p>
            </p:txBody>
          </p:sp>
          <p:sp>
            <p:nvSpPr>
              <p:cNvPr id="109" name="Header Enrichment Effect">
                <a:extLst>
                  <a:ext uri="{FF2B5EF4-FFF2-40B4-BE49-F238E27FC236}">
                    <a16:creationId xmlns:a16="http://schemas.microsoft.com/office/drawing/2014/main" id="{FE73AE0D-F849-5B4C-B916-0CDAE91DC278}"/>
                  </a:ext>
                </a:extLst>
              </p:cNvPr>
              <p:cNvSpPr txBox="1"/>
              <p:nvPr/>
            </p:nvSpPr>
            <p:spPr>
              <a:xfrm>
                <a:off x="833124" y="5184050"/>
                <a:ext cx="1579730" cy="20804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20111" tIns="20111" rIns="20111" bIns="20111" numCol="1" anchor="ctr">
                <a:spAutoFit/>
              </a:bodyPr>
              <a:lstStyle/>
              <a:p>
                <a:pPr marL="0" marR="0" lvl="0" indent="0" algn="ctr" defTabSz="675205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500">
                    <a:solidFill>
                      <a:srgbClr val="FFFFFF"/>
                    </a:solidFill>
                    <a:latin typeface="Greycliff CF Medium"/>
                    <a:ea typeface="Greycliff CF Medium"/>
                    <a:cs typeface="Greycliff CF Medium"/>
                    <a:sym typeface="Greycliff CF Medium"/>
                  </a:defRPr>
                </a:pPr>
                <a:r>
                  <a:rPr kumimoji="0" sz="7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Greycliff CF Medium" pitchFamily="2" charset="0"/>
                    <a:ea typeface="Greycliff CF Medium"/>
                    <a:cs typeface="Greycliff CF Medium"/>
                    <a:sym typeface="Greycliff CF Medium"/>
                  </a:rPr>
                  <a:t> </a:t>
                </a:r>
                <a:r>
                  <a:rPr kumimoji="0" lang="tr-TR" sz="75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Greycliff CF Medium" pitchFamily="2" charset="0"/>
                    <a:ea typeface="Greycliff CF Heavy"/>
                    <a:cs typeface="Greycliff CF Heavy"/>
                    <a:sym typeface="Greycliff CF Heavy"/>
                  </a:rPr>
                  <a:t>Rebreanding</a:t>
                </a:r>
                <a:r>
                  <a:rPr kumimoji="0" sz="75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Greycliff CF Medium" pitchFamily="2" charset="0"/>
                    <a:ea typeface="Greycliff CF Medium"/>
                    <a:cs typeface="Greycliff CF Medium"/>
                    <a:sym typeface="Greycliff CF Medium"/>
                  </a:rPr>
                  <a:t> </a:t>
                </a:r>
                <a:endParaRPr kumimoji="0" lang="tr-TR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 pitchFamily="2" charset="0"/>
                  <a:ea typeface="Greycliff CF Medium"/>
                  <a:cs typeface="Greycliff CF Medium"/>
                  <a:sym typeface="Greycliff CF Medium"/>
                </a:endParaRPr>
              </a:p>
            </p:txBody>
          </p:sp>
        </p:grpSp>
        <p:pic>
          <p:nvPicPr>
            <p:cNvPr id="7" name="Resim 6">
              <a:extLst>
                <a:ext uri="{FF2B5EF4-FFF2-40B4-BE49-F238E27FC236}">
                  <a16:creationId xmlns:a16="http://schemas.microsoft.com/office/drawing/2014/main" id="{CC3296A9-049C-144C-B9F9-17B778FE16A1}"/>
                </a:ext>
              </a:extLst>
            </p:cNvPr>
            <p:cNvPicPr>
              <a:picLocks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531353" y="4388330"/>
              <a:ext cx="374400" cy="374400"/>
            </a:xfrm>
            <a:prstGeom prst="rect">
              <a:avLst/>
            </a:prstGeom>
          </p:spPr>
        </p:pic>
        <p:pic>
          <p:nvPicPr>
            <p:cNvPr id="17" name="Resim 16">
              <a:extLst>
                <a:ext uri="{FF2B5EF4-FFF2-40B4-BE49-F238E27FC236}">
                  <a16:creationId xmlns:a16="http://schemas.microsoft.com/office/drawing/2014/main" id="{71FB9B83-6910-604E-BA86-0B2FB79C07EF}"/>
                </a:ext>
              </a:extLst>
            </p:cNvPr>
            <p:cNvPicPr>
              <a:picLocks/>
            </p:cNvPicPr>
            <p:nvPr/>
          </p:nvPicPr>
          <p:blipFill rotWithShape="1">
            <a:blip r:embed="rId11"/>
            <a:srcRect l="11472" r="11905"/>
            <a:stretch/>
          </p:blipFill>
          <p:spPr>
            <a:xfrm>
              <a:off x="1526728" y="4803023"/>
              <a:ext cx="374400" cy="374400"/>
            </a:xfrm>
            <a:prstGeom prst="rect">
              <a:avLst/>
            </a:prstGeom>
          </p:spPr>
        </p:pic>
        <p:pic>
          <p:nvPicPr>
            <p:cNvPr id="19" name="Resim 18">
              <a:extLst>
                <a:ext uri="{FF2B5EF4-FFF2-40B4-BE49-F238E27FC236}">
                  <a16:creationId xmlns:a16="http://schemas.microsoft.com/office/drawing/2014/main" id="{C815D831-159D-124D-B466-910603E42186}"/>
                </a:ext>
              </a:extLst>
            </p:cNvPr>
            <p:cNvPicPr>
              <a:picLocks/>
            </p:cNvPicPr>
            <p:nvPr/>
          </p:nvPicPr>
          <p:blipFill rotWithShape="1">
            <a:blip r:embed="rId12"/>
            <a:srcRect l="32471" t="17995" r="32471" b="18274"/>
            <a:stretch/>
          </p:blipFill>
          <p:spPr>
            <a:xfrm>
              <a:off x="1106890" y="4803023"/>
              <a:ext cx="374400" cy="374400"/>
            </a:xfrm>
            <a:prstGeom prst="roundRect">
              <a:avLst>
                <a:gd name="adj" fmla="val 21053"/>
              </a:avLst>
            </a:prstGeom>
          </p:spPr>
        </p:pic>
      </p:grpSp>
      <p:grpSp>
        <p:nvGrpSpPr>
          <p:cNvPr id="26" name="Grup 25">
            <a:extLst>
              <a:ext uri="{FF2B5EF4-FFF2-40B4-BE49-F238E27FC236}">
                <a16:creationId xmlns:a16="http://schemas.microsoft.com/office/drawing/2014/main" id="{13829E97-2D26-5341-A558-3710DD11A607}"/>
              </a:ext>
            </a:extLst>
          </p:cNvPr>
          <p:cNvGrpSpPr/>
          <p:nvPr/>
        </p:nvGrpSpPr>
        <p:grpSpPr>
          <a:xfrm>
            <a:off x="3515428" y="1494140"/>
            <a:ext cx="1184798" cy="893211"/>
            <a:chOff x="5445425" y="1899919"/>
            <a:chExt cx="1579730" cy="1190948"/>
          </a:xfrm>
        </p:grpSpPr>
        <p:pic>
          <p:nvPicPr>
            <p:cNvPr id="899" name="Grup" descr="Grup"/>
            <p:cNvPicPr>
              <a:picLocks/>
            </p:cNvPicPr>
            <p:nvPr/>
          </p:nvPicPr>
          <p:blipFill rotWithShape="1">
            <a:blip r:embed="rId13">
              <a:extLst/>
            </a:blip>
            <a:srcRect l="3778" t="3821" r="3285" b="6713"/>
            <a:stretch/>
          </p:blipFill>
          <p:spPr>
            <a:xfrm>
              <a:off x="5822950" y="2292350"/>
              <a:ext cx="374400" cy="37440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86" name="Header Enrichment Effect">
              <a:extLst>
                <a:ext uri="{FF2B5EF4-FFF2-40B4-BE49-F238E27FC236}">
                  <a16:creationId xmlns:a16="http://schemas.microsoft.com/office/drawing/2014/main" id="{68DD5D79-A8CB-2344-87E4-6C9E7073EE9F}"/>
                </a:ext>
              </a:extLst>
            </p:cNvPr>
            <p:cNvSpPr txBox="1"/>
            <p:nvPr/>
          </p:nvSpPr>
          <p:spPr>
            <a:xfrm>
              <a:off x="5445425" y="1899919"/>
              <a:ext cx="1579730" cy="36192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0111" tIns="20111" rIns="20111" bIns="20111" numCol="1" anchor="ctr">
              <a:spAutoFit/>
            </a:bodyPr>
            <a:lstStyle/>
            <a:p>
              <a:pPr marL="0" marR="0" lvl="0" indent="0" algn="ctr" defTabSz="6752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500">
                  <a:solidFill>
                    <a:srgbClr val="FFFFFF"/>
                  </a:solidFill>
                  <a:latin typeface="Greycliff CF Medium"/>
                  <a:ea typeface="Greycliff CF Medium"/>
                  <a:cs typeface="Greycliff CF Medium"/>
                  <a:sym typeface="Greycliff CF Medium"/>
                </a:defRPr>
              </a:pPr>
              <a:r>
                <a:rPr kumimoji="0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/>
                  <a:ea typeface="Greycliff CF Medium"/>
                  <a:cs typeface="Greycliff CF Medium"/>
                  <a:sym typeface="Greycliff CF Medium"/>
                </a:rPr>
                <a:t> </a:t>
              </a:r>
              <a:r>
                <a:rPr kumimoji="0" lang="tr-TR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C40C"/>
                  </a:solidFill>
                  <a:effectLst/>
                  <a:uLnTx/>
                  <a:uFillTx/>
                  <a:latin typeface="Greycliff CF Heavy"/>
                  <a:ea typeface="Greycliff CF Heavy"/>
                  <a:cs typeface="Greycliff CF Heavy"/>
                  <a:sym typeface="Greycliff CF Heavy"/>
                </a:rPr>
                <a:t>Dergilik</a:t>
              </a:r>
              <a:r>
                <a:rPr kumimoji="0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/>
                  <a:ea typeface="Greycliff CF Medium"/>
                  <a:cs typeface="Greycliff CF Medium"/>
                  <a:sym typeface="Greycliff CF Medium"/>
                </a:rPr>
                <a:t> </a:t>
              </a:r>
              <a:endParaRPr kumimoji="0" lang="tr-TR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endParaRPr>
            </a:p>
            <a:p>
              <a:pPr marL="0" marR="0" lvl="0" indent="0" algn="ctr" defTabSz="6752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500">
                  <a:solidFill>
                    <a:srgbClr val="FFFFFF"/>
                  </a:solidFill>
                  <a:latin typeface="Greycliff CF Medium"/>
                  <a:ea typeface="Greycliff CF Medium"/>
                  <a:cs typeface="Greycliff CF Medium"/>
                  <a:sym typeface="Greycliff CF Medium"/>
                </a:defRPr>
              </a:pPr>
              <a:r>
                <a:rPr kumimoji="0" lang="tr-TR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/>
                  <a:ea typeface="Greycliff CF Medium"/>
                  <a:cs typeface="Greycliff CF Medium"/>
                  <a:sym typeface="Greycliff CF Medium"/>
                </a:rPr>
                <a:t>Integration</a:t>
              </a:r>
              <a:r>
                <a:rPr kumimoji="0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/>
                  <a:ea typeface="Greycliff CF Medium"/>
                  <a:cs typeface="Greycliff CF Medium"/>
                  <a:sym typeface="Greycliff CF Medium"/>
                </a:rPr>
                <a:t> </a:t>
              </a:r>
              <a:endParaRPr kumimoji="0" lang="tr-TR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endParaRPr>
            </a:p>
          </p:txBody>
        </p:sp>
        <p:pic>
          <p:nvPicPr>
            <p:cNvPr id="29" name="Resim 28">
              <a:extLst>
                <a:ext uri="{FF2B5EF4-FFF2-40B4-BE49-F238E27FC236}">
                  <a16:creationId xmlns:a16="http://schemas.microsoft.com/office/drawing/2014/main" id="{D3877D17-4F27-BE41-BF6D-3D3607B94810}"/>
                </a:ext>
              </a:extLst>
            </p:cNvPr>
            <p:cNvPicPr>
              <a:picLocks/>
            </p:cNvPicPr>
            <p:nvPr/>
          </p:nvPicPr>
          <p:blipFill rotWithShape="1">
            <a:blip r:embed="rId14"/>
            <a:srcRect l="16597" t="2471" r="16458" b="8524"/>
            <a:stretch/>
          </p:blipFill>
          <p:spPr>
            <a:xfrm>
              <a:off x="6253773" y="2292348"/>
              <a:ext cx="374400" cy="374400"/>
            </a:xfrm>
            <a:prstGeom prst="rect">
              <a:avLst/>
            </a:prstGeom>
          </p:spPr>
        </p:pic>
        <p:grpSp>
          <p:nvGrpSpPr>
            <p:cNvPr id="32" name="Grup 31">
              <a:extLst>
                <a:ext uri="{FF2B5EF4-FFF2-40B4-BE49-F238E27FC236}">
                  <a16:creationId xmlns:a16="http://schemas.microsoft.com/office/drawing/2014/main" id="{BDFF2B10-067F-8042-85B3-15A6E7DCC118}"/>
                </a:ext>
              </a:extLst>
            </p:cNvPr>
            <p:cNvGrpSpPr/>
            <p:nvPr/>
          </p:nvGrpSpPr>
          <p:grpSpPr>
            <a:xfrm>
              <a:off x="5827949" y="2716467"/>
              <a:ext cx="374400" cy="374400"/>
              <a:chOff x="5457675" y="5238654"/>
              <a:chExt cx="521855" cy="521855"/>
            </a:xfrm>
          </p:grpSpPr>
          <p:sp>
            <p:nvSpPr>
              <p:cNvPr id="117" name="Grup">
                <a:extLst>
                  <a:ext uri="{FF2B5EF4-FFF2-40B4-BE49-F238E27FC236}">
                    <a16:creationId xmlns:a16="http://schemas.microsoft.com/office/drawing/2014/main" id="{8AF99FBC-0E77-3641-BC88-8FF44D139F26}"/>
                  </a:ext>
                </a:extLst>
              </p:cNvPr>
              <p:cNvSpPr/>
              <p:nvPr/>
            </p:nvSpPr>
            <p:spPr>
              <a:xfrm>
                <a:off x="5457675" y="5238654"/>
                <a:ext cx="521855" cy="521855"/>
              </a:xfrm>
              <a:prstGeom prst="roundRect">
                <a:avLst>
                  <a:gd name="adj" fmla="val 15000"/>
                </a:avLst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306745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"/>
                  <a:ea typeface="ＭＳ Ｐゴシック" charset="0"/>
                  <a:cs typeface="Arial" charset="0"/>
                  <a:sym typeface="Helvetica"/>
                </a:endParaRPr>
              </a:p>
            </p:txBody>
          </p:sp>
          <p:pic>
            <p:nvPicPr>
              <p:cNvPr id="31" name="Resim 30">
                <a:extLst>
                  <a:ext uri="{FF2B5EF4-FFF2-40B4-BE49-F238E27FC236}">
                    <a16:creationId xmlns:a16="http://schemas.microsoft.com/office/drawing/2014/main" id="{920599F9-7E8A-FE49-9A2E-C4A562EE5C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5486112" y="5338063"/>
                <a:ext cx="454762" cy="207805"/>
              </a:xfrm>
              <a:prstGeom prst="rect">
                <a:avLst/>
              </a:prstGeom>
            </p:spPr>
          </p:pic>
        </p:grpSp>
        <p:grpSp>
          <p:nvGrpSpPr>
            <p:cNvPr id="119" name="Grup 118">
              <a:extLst>
                <a:ext uri="{FF2B5EF4-FFF2-40B4-BE49-F238E27FC236}">
                  <a16:creationId xmlns:a16="http://schemas.microsoft.com/office/drawing/2014/main" id="{37DF6B24-AB5E-CE4E-8425-AD1B95529DEF}"/>
                </a:ext>
              </a:extLst>
            </p:cNvPr>
            <p:cNvGrpSpPr/>
            <p:nvPr/>
          </p:nvGrpSpPr>
          <p:grpSpPr>
            <a:xfrm>
              <a:off x="6259505" y="2715749"/>
              <a:ext cx="374400" cy="374400"/>
              <a:chOff x="5457675" y="5238655"/>
              <a:chExt cx="521855" cy="521853"/>
            </a:xfrm>
          </p:grpSpPr>
          <p:sp>
            <p:nvSpPr>
              <p:cNvPr id="120" name="Grup">
                <a:extLst>
                  <a:ext uri="{FF2B5EF4-FFF2-40B4-BE49-F238E27FC236}">
                    <a16:creationId xmlns:a16="http://schemas.microsoft.com/office/drawing/2014/main" id="{BE1B3BD6-4B84-5046-BCA2-4B16820955EA}"/>
                  </a:ext>
                </a:extLst>
              </p:cNvPr>
              <p:cNvSpPr/>
              <p:nvPr/>
            </p:nvSpPr>
            <p:spPr>
              <a:xfrm>
                <a:off x="5457675" y="5238655"/>
                <a:ext cx="521855" cy="521853"/>
              </a:xfrm>
              <a:prstGeom prst="roundRect">
                <a:avLst>
                  <a:gd name="adj" fmla="val 15000"/>
                </a:avLst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306745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"/>
                  <a:ea typeface="ＭＳ Ｐゴシック" charset="0"/>
                  <a:cs typeface="Arial" charset="0"/>
                  <a:sym typeface="Helvetica"/>
                </a:endParaRPr>
              </a:p>
            </p:txBody>
          </p:sp>
          <p:pic>
            <p:nvPicPr>
              <p:cNvPr id="121" name="Resim 120">
                <a:extLst>
                  <a:ext uri="{FF2B5EF4-FFF2-40B4-BE49-F238E27FC236}">
                    <a16:creationId xmlns:a16="http://schemas.microsoft.com/office/drawing/2014/main" id="{6FD95CA8-87D6-D74A-8C52-730E63956A9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6"/>
              <a:srcRect l="31491" t="29328" r="30326" b="23375"/>
              <a:stretch/>
            </p:blipFill>
            <p:spPr>
              <a:xfrm>
                <a:off x="5490879" y="5286733"/>
                <a:ext cx="452755" cy="415025"/>
              </a:xfrm>
              <a:prstGeom prst="rect">
                <a:avLst/>
              </a:prstGeom>
            </p:spPr>
          </p:pic>
        </p:grpSp>
      </p:grpSp>
      <p:grpSp>
        <p:nvGrpSpPr>
          <p:cNvPr id="28" name="Grup 27">
            <a:extLst>
              <a:ext uri="{FF2B5EF4-FFF2-40B4-BE49-F238E27FC236}">
                <a16:creationId xmlns:a16="http://schemas.microsoft.com/office/drawing/2014/main" id="{65948ECA-B864-8841-9559-DD93FCB3B03C}"/>
              </a:ext>
            </a:extLst>
          </p:cNvPr>
          <p:cNvGrpSpPr/>
          <p:nvPr/>
        </p:nvGrpSpPr>
        <p:grpSpPr>
          <a:xfrm>
            <a:off x="4702629" y="1133579"/>
            <a:ext cx="1184798" cy="899159"/>
            <a:chOff x="6800879" y="1070772"/>
            <a:chExt cx="1579730" cy="1198879"/>
          </a:xfrm>
        </p:grpSpPr>
        <p:sp>
          <p:nvSpPr>
            <p:cNvPr id="91" name="Header Enrichment Effect">
              <a:extLst>
                <a:ext uri="{FF2B5EF4-FFF2-40B4-BE49-F238E27FC236}">
                  <a16:creationId xmlns:a16="http://schemas.microsoft.com/office/drawing/2014/main" id="{3FFE35DC-FB37-044F-897F-0755C5D3B0EA}"/>
                </a:ext>
              </a:extLst>
            </p:cNvPr>
            <p:cNvSpPr txBox="1"/>
            <p:nvPr/>
          </p:nvSpPr>
          <p:spPr>
            <a:xfrm>
              <a:off x="6800879" y="1070772"/>
              <a:ext cx="1579730" cy="36192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0111" tIns="20111" rIns="20111" bIns="20111" numCol="1" anchor="ctr">
              <a:spAutoFit/>
            </a:bodyPr>
            <a:lstStyle/>
            <a:p>
              <a:pPr marL="0" marR="0" lvl="0" indent="0" algn="ctr" defTabSz="6752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500">
                  <a:solidFill>
                    <a:srgbClr val="FFFFFF"/>
                  </a:solidFill>
                  <a:latin typeface="Greycliff CF Medium"/>
                  <a:ea typeface="Greycliff CF Medium"/>
                  <a:cs typeface="Greycliff CF Medium"/>
                  <a:sym typeface="Greycliff CF Medium"/>
                </a:defRPr>
              </a:pPr>
              <a:r>
                <a:rPr kumimoji="0" lang="tr-TR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C40C"/>
                  </a:solidFill>
                  <a:effectLst/>
                  <a:uLnTx/>
                  <a:uFillTx/>
                  <a:latin typeface="Greycliff CF Heavy"/>
                  <a:ea typeface="Greycliff CF Heavy"/>
                  <a:cs typeface="Greycliff CF Heavy"/>
                  <a:sym typeface="Greycliff CF Heavy"/>
                </a:rPr>
                <a:t>Hadi</a:t>
              </a:r>
              <a:r>
                <a:rPr kumimoji="0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/>
                  <a:ea typeface="Greycliff CF Medium"/>
                  <a:cs typeface="Greycliff CF Medium"/>
                  <a:sym typeface="Greycliff CF Medium"/>
                </a:rPr>
                <a:t> </a:t>
              </a:r>
              <a:endParaRPr kumimoji="0" lang="tr-TR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endParaRPr>
            </a:p>
            <a:p>
              <a:pPr marL="0" marR="0" lvl="0" indent="0" algn="ctr" defTabSz="6752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500">
                  <a:solidFill>
                    <a:srgbClr val="FFFFFF"/>
                  </a:solidFill>
                  <a:latin typeface="Greycliff CF Medium"/>
                  <a:ea typeface="Greycliff CF Medium"/>
                  <a:cs typeface="Greycliff CF Medium"/>
                  <a:sym typeface="Greycliff CF Medium"/>
                </a:defRPr>
              </a:pPr>
              <a:r>
                <a:rPr kumimoji="0" lang="tr-TR" sz="75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/>
                  <a:ea typeface="Greycliff CF Medium"/>
                  <a:cs typeface="Greycliff CF Medium"/>
                  <a:sym typeface="Greycliff CF Medium"/>
                </a:rPr>
                <a:t>Launch</a:t>
              </a:r>
              <a:r>
                <a:rPr kumimoji="0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/>
                  <a:ea typeface="Greycliff CF Medium"/>
                  <a:cs typeface="Greycliff CF Medium"/>
                  <a:sym typeface="Greycliff CF Medium"/>
                </a:rPr>
                <a:t> </a:t>
              </a:r>
              <a:endParaRPr kumimoji="0" lang="tr-TR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endParaRPr>
            </a:p>
          </p:txBody>
        </p:sp>
        <p:pic>
          <p:nvPicPr>
            <p:cNvPr id="106" name="Picture 2" descr="hadi ile ilgili görsel sonucu">
              <a:extLst>
                <a:ext uri="{FF2B5EF4-FFF2-40B4-BE49-F238E27FC236}">
                  <a16:creationId xmlns:a16="http://schemas.microsoft.com/office/drawing/2014/main" id="{6BAA9B8E-71B4-3B4C-AC50-01F9C76C17CD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948" t="15854" r="31790" b="15913"/>
            <a:stretch/>
          </p:blipFill>
          <p:spPr bwMode="auto">
            <a:xfrm>
              <a:off x="7200568" y="1468584"/>
              <a:ext cx="374400" cy="374400"/>
            </a:xfrm>
            <a:prstGeom prst="roundRect">
              <a:avLst>
                <a:gd name="adj" fmla="val 23628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Resim 39">
              <a:extLst>
                <a:ext uri="{FF2B5EF4-FFF2-40B4-BE49-F238E27FC236}">
                  <a16:creationId xmlns:a16="http://schemas.microsoft.com/office/drawing/2014/main" id="{4A3F7F14-D22B-D745-BDC9-548B47D605B7}"/>
                </a:ext>
              </a:extLst>
            </p:cNvPr>
            <p:cNvPicPr>
              <a:picLocks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7633246" y="1476104"/>
              <a:ext cx="374400" cy="374400"/>
            </a:xfrm>
            <a:prstGeom prst="roundRect">
              <a:avLst/>
            </a:prstGeom>
          </p:spPr>
        </p:pic>
        <p:grpSp>
          <p:nvGrpSpPr>
            <p:cNvPr id="41" name="Grup 40">
              <a:extLst>
                <a:ext uri="{FF2B5EF4-FFF2-40B4-BE49-F238E27FC236}">
                  <a16:creationId xmlns:a16="http://schemas.microsoft.com/office/drawing/2014/main" id="{F953DEA7-581E-464F-845C-3811DDBC357B}"/>
                </a:ext>
              </a:extLst>
            </p:cNvPr>
            <p:cNvGrpSpPr/>
            <p:nvPr/>
          </p:nvGrpSpPr>
          <p:grpSpPr>
            <a:xfrm>
              <a:off x="7649077" y="1895251"/>
              <a:ext cx="374400" cy="374400"/>
              <a:chOff x="7475011" y="2777921"/>
              <a:chExt cx="374400" cy="374400"/>
            </a:xfrm>
          </p:grpSpPr>
          <p:sp>
            <p:nvSpPr>
              <p:cNvPr id="131" name="Grup">
                <a:extLst>
                  <a:ext uri="{FF2B5EF4-FFF2-40B4-BE49-F238E27FC236}">
                    <a16:creationId xmlns:a16="http://schemas.microsoft.com/office/drawing/2014/main" id="{77D90B61-97D4-B14B-8540-FAA27F988D01}"/>
                  </a:ext>
                </a:extLst>
              </p:cNvPr>
              <p:cNvSpPr/>
              <p:nvPr/>
            </p:nvSpPr>
            <p:spPr>
              <a:xfrm>
                <a:off x="7475011" y="2777921"/>
                <a:ext cx="374400" cy="374400"/>
              </a:xfrm>
              <a:prstGeom prst="roundRect">
                <a:avLst>
                  <a:gd name="adj" fmla="val 15000"/>
                </a:avLst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306745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"/>
                  <a:ea typeface="ＭＳ Ｐゴシック" charset="0"/>
                  <a:cs typeface="Arial" charset="0"/>
                  <a:sym typeface="Helvetica"/>
                </a:endParaRPr>
              </a:p>
            </p:txBody>
          </p:sp>
          <p:pic>
            <p:nvPicPr>
              <p:cNvPr id="36" name="Resim 35">
                <a:extLst>
                  <a:ext uri="{FF2B5EF4-FFF2-40B4-BE49-F238E27FC236}">
                    <a16:creationId xmlns:a16="http://schemas.microsoft.com/office/drawing/2014/main" id="{8A9BAC0B-7075-E940-94AF-DD4A0156566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9"/>
              <a:srcRect t="27200" b="32632"/>
              <a:stretch/>
            </p:blipFill>
            <p:spPr>
              <a:xfrm>
                <a:off x="7477644" y="2922805"/>
                <a:ext cx="364268" cy="97547"/>
              </a:xfrm>
              <a:prstGeom prst="rect">
                <a:avLst/>
              </a:prstGeom>
            </p:spPr>
          </p:pic>
        </p:grpSp>
        <p:grpSp>
          <p:nvGrpSpPr>
            <p:cNvPr id="42" name="Grup 41">
              <a:extLst>
                <a:ext uri="{FF2B5EF4-FFF2-40B4-BE49-F238E27FC236}">
                  <a16:creationId xmlns:a16="http://schemas.microsoft.com/office/drawing/2014/main" id="{EFA75377-340F-064A-A20C-6129EA6CF0D9}"/>
                </a:ext>
              </a:extLst>
            </p:cNvPr>
            <p:cNvGrpSpPr/>
            <p:nvPr/>
          </p:nvGrpSpPr>
          <p:grpSpPr>
            <a:xfrm>
              <a:off x="7204412" y="1895251"/>
              <a:ext cx="374400" cy="374400"/>
              <a:chOff x="8348979" y="2105837"/>
              <a:chExt cx="374400" cy="374400"/>
            </a:xfrm>
          </p:grpSpPr>
          <p:sp>
            <p:nvSpPr>
              <p:cNvPr id="135" name="Grup">
                <a:extLst>
                  <a:ext uri="{FF2B5EF4-FFF2-40B4-BE49-F238E27FC236}">
                    <a16:creationId xmlns:a16="http://schemas.microsoft.com/office/drawing/2014/main" id="{3A27DF14-6880-E544-A1DF-83D717E5C6C8}"/>
                  </a:ext>
                </a:extLst>
              </p:cNvPr>
              <p:cNvSpPr/>
              <p:nvPr/>
            </p:nvSpPr>
            <p:spPr>
              <a:xfrm>
                <a:off x="8348979" y="2105837"/>
                <a:ext cx="374400" cy="374400"/>
              </a:xfrm>
              <a:prstGeom prst="roundRect">
                <a:avLst>
                  <a:gd name="adj" fmla="val 15000"/>
                </a:avLst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306745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"/>
                  <a:ea typeface="ＭＳ Ｐゴシック" charset="0"/>
                  <a:cs typeface="Arial" charset="0"/>
                  <a:sym typeface="Helvetica"/>
                </a:endParaRPr>
              </a:p>
            </p:txBody>
          </p:sp>
          <p:pic>
            <p:nvPicPr>
              <p:cNvPr id="38" name="Resim 37">
                <a:extLst>
                  <a:ext uri="{FF2B5EF4-FFF2-40B4-BE49-F238E27FC236}">
                    <a16:creationId xmlns:a16="http://schemas.microsoft.com/office/drawing/2014/main" id="{4F757C1F-F4DB-0F49-9C91-9147CAFD82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8392994" y="2172615"/>
                <a:ext cx="293360" cy="247673"/>
              </a:xfrm>
              <a:prstGeom prst="roundRect">
                <a:avLst/>
              </a:prstGeom>
            </p:spPr>
          </p:pic>
        </p:grpSp>
      </p:grpSp>
      <p:grpSp>
        <p:nvGrpSpPr>
          <p:cNvPr id="24" name="Grup 23">
            <a:extLst>
              <a:ext uri="{FF2B5EF4-FFF2-40B4-BE49-F238E27FC236}">
                <a16:creationId xmlns:a16="http://schemas.microsoft.com/office/drawing/2014/main" id="{9D02365F-6515-714D-8797-179D01E9887F}"/>
              </a:ext>
            </a:extLst>
          </p:cNvPr>
          <p:cNvGrpSpPr/>
          <p:nvPr/>
        </p:nvGrpSpPr>
        <p:grpSpPr>
          <a:xfrm>
            <a:off x="2366037" y="2217453"/>
            <a:ext cx="1184798" cy="889568"/>
            <a:chOff x="3927632" y="2783155"/>
            <a:chExt cx="1579730" cy="1186091"/>
          </a:xfrm>
        </p:grpSpPr>
        <p:grpSp>
          <p:nvGrpSpPr>
            <p:cNvPr id="910" name="Grup"/>
            <p:cNvGrpSpPr/>
            <p:nvPr/>
          </p:nvGrpSpPr>
          <p:grpSpPr>
            <a:xfrm>
              <a:off x="4324350" y="3166229"/>
              <a:ext cx="374400" cy="377072"/>
              <a:chOff x="658296" y="79777"/>
              <a:chExt cx="661629" cy="707265"/>
            </a:xfrm>
          </p:grpSpPr>
          <p:pic>
            <p:nvPicPr>
              <p:cNvPr id="909" name="Grup" descr="Grup"/>
              <p:cNvPicPr>
                <a:picLocks/>
              </p:cNvPicPr>
              <p:nvPr/>
            </p:nvPicPr>
            <p:blipFill rotWithShape="1">
              <a:blip r:embed="rId21">
                <a:extLst/>
              </a:blip>
              <a:srcRect l="20721" t="-1046" r="19805" b="8975"/>
              <a:stretch/>
            </p:blipFill>
            <p:spPr>
              <a:xfrm>
                <a:off x="671824" y="79777"/>
                <a:ext cx="648101" cy="702253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sp>
            <p:nvSpPr>
              <p:cNvPr id="908" name="Yuvarlatılmış Dikdörtgen"/>
              <p:cNvSpPr/>
              <p:nvPr/>
            </p:nvSpPr>
            <p:spPr>
              <a:xfrm>
                <a:off x="658296" y="108141"/>
                <a:ext cx="659526" cy="678901"/>
              </a:xfrm>
              <a:prstGeom prst="roundRect">
                <a:avLst>
                  <a:gd name="adj" fmla="val 15000"/>
                </a:avLst>
              </a:prstGeom>
              <a:noFill/>
              <a:ln w="3175" cap="flat">
                <a:solidFill>
                  <a:srgbClr val="FFFFFF">
                    <a:alpha val="48989"/>
                  </a:srgbClr>
                </a:solidFill>
                <a:prstDash val="solid"/>
                <a:round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306745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"/>
                  <a:ea typeface="ＭＳ Ｐゴシック" charset="0"/>
                  <a:cs typeface="Arial" charset="0"/>
                  <a:sym typeface="Helvetica"/>
                </a:endParaRPr>
              </a:p>
            </p:txBody>
          </p:sp>
        </p:grpSp>
        <p:sp>
          <p:nvSpPr>
            <p:cNvPr id="83" name="Header Enrichment Effect">
              <a:extLst>
                <a:ext uri="{FF2B5EF4-FFF2-40B4-BE49-F238E27FC236}">
                  <a16:creationId xmlns:a16="http://schemas.microsoft.com/office/drawing/2014/main" id="{DBAFE1D2-CDCA-FD41-AE0C-22CF159E5DD6}"/>
                </a:ext>
              </a:extLst>
            </p:cNvPr>
            <p:cNvSpPr txBox="1"/>
            <p:nvPr/>
          </p:nvSpPr>
          <p:spPr>
            <a:xfrm>
              <a:off x="3927632" y="2783155"/>
              <a:ext cx="1579730" cy="36192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0111" tIns="20111" rIns="20111" bIns="20111" numCol="1" anchor="ctr">
              <a:spAutoFit/>
            </a:bodyPr>
            <a:lstStyle/>
            <a:p>
              <a:pPr marL="0" marR="0" lvl="0" indent="0" algn="ctr" defTabSz="6752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500">
                  <a:solidFill>
                    <a:srgbClr val="FFFFFF"/>
                  </a:solidFill>
                  <a:latin typeface="Greycliff CF Medium"/>
                  <a:ea typeface="Greycliff CF Medium"/>
                  <a:cs typeface="Greycliff CF Medium"/>
                  <a:sym typeface="Greycliff CF Medium"/>
                </a:defRPr>
              </a:pPr>
              <a:r>
                <a:rPr kumimoji="0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/>
                  <a:ea typeface="Greycliff CF Medium"/>
                  <a:cs typeface="Greycliff CF Medium"/>
                  <a:sym typeface="Greycliff CF Medium"/>
                </a:rPr>
                <a:t> </a:t>
              </a:r>
              <a:r>
                <a:rPr kumimoji="0" lang="tr-TR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C40C"/>
                  </a:solidFill>
                  <a:effectLst/>
                  <a:uLnTx/>
                  <a:uFillTx/>
                  <a:latin typeface="Greycliff CF Heavy"/>
                  <a:ea typeface="Greycliff CF Heavy"/>
                  <a:cs typeface="Greycliff CF Heavy"/>
                  <a:sym typeface="Greycliff CF Heavy"/>
                </a:rPr>
                <a:t>Hesabım</a:t>
              </a:r>
              <a:r>
                <a:rPr kumimoji="0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/>
                  <a:ea typeface="Greycliff CF Medium"/>
                  <a:cs typeface="Greycliff CF Medium"/>
                  <a:sym typeface="Greycliff CF Medium"/>
                </a:rPr>
                <a:t> </a:t>
              </a:r>
              <a:endParaRPr kumimoji="0" lang="tr-TR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endParaRPr>
            </a:p>
            <a:p>
              <a:pPr marL="0" marR="0" lvl="0" indent="0" algn="ctr" defTabSz="6752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500">
                  <a:solidFill>
                    <a:srgbClr val="FFFFFF"/>
                  </a:solidFill>
                  <a:latin typeface="Greycliff CF Medium"/>
                  <a:ea typeface="Greycliff CF Medium"/>
                  <a:cs typeface="Greycliff CF Medium"/>
                  <a:sym typeface="Greycliff CF Medium"/>
                </a:defRPr>
              </a:pPr>
              <a:r>
                <a:rPr kumimoji="0" lang="tr-TR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/>
                  <a:ea typeface="Greycliff CF Medium"/>
                  <a:cs typeface="Greycliff CF Medium"/>
                  <a:sym typeface="Greycliff CF Medium"/>
                </a:rPr>
                <a:t>Integration</a:t>
              </a:r>
              <a:r>
                <a:rPr kumimoji="0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/>
                  <a:ea typeface="Greycliff CF Medium"/>
                  <a:cs typeface="Greycliff CF Medium"/>
                  <a:sym typeface="Greycliff CF Medium"/>
                </a:rPr>
                <a:t> </a:t>
              </a:r>
              <a:endParaRPr kumimoji="0" lang="tr-TR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endParaRPr>
            </a:p>
          </p:txBody>
        </p:sp>
        <p:grpSp>
          <p:nvGrpSpPr>
            <p:cNvPr id="44" name="Grup 43">
              <a:extLst>
                <a:ext uri="{FF2B5EF4-FFF2-40B4-BE49-F238E27FC236}">
                  <a16:creationId xmlns:a16="http://schemas.microsoft.com/office/drawing/2014/main" id="{B02699B7-281C-5D47-A671-3EFA6B499181}"/>
                </a:ext>
              </a:extLst>
            </p:cNvPr>
            <p:cNvGrpSpPr/>
            <p:nvPr/>
          </p:nvGrpSpPr>
          <p:grpSpPr>
            <a:xfrm>
              <a:off x="4330140" y="3594846"/>
              <a:ext cx="374400" cy="374400"/>
              <a:chOff x="5266765" y="3312876"/>
              <a:chExt cx="374400" cy="374400"/>
            </a:xfrm>
          </p:grpSpPr>
          <p:sp>
            <p:nvSpPr>
              <p:cNvPr id="139" name="Grup">
                <a:extLst>
                  <a:ext uri="{FF2B5EF4-FFF2-40B4-BE49-F238E27FC236}">
                    <a16:creationId xmlns:a16="http://schemas.microsoft.com/office/drawing/2014/main" id="{FC366292-1B96-1340-A149-7707FF432461}"/>
                  </a:ext>
                </a:extLst>
              </p:cNvPr>
              <p:cNvSpPr/>
              <p:nvPr/>
            </p:nvSpPr>
            <p:spPr>
              <a:xfrm>
                <a:off x="5266765" y="3312876"/>
                <a:ext cx="374400" cy="374400"/>
              </a:xfrm>
              <a:prstGeom prst="roundRect">
                <a:avLst>
                  <a:gd name="adj" fmla="val 15000"/>
                </a:avLst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306745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"/>
                  <a:ea typeface="ＭＳ Ｐゴシック" charset="0"/>
                  <a:cs typeface="Arial" charset="0"/>
                  <a:sym typeface="Helvetica"/>
                </a:endParaRPr>
              </a:p>
            </p:txBody>
          </p:sp>
          <p:pic>
            <p:nvPicPr>
              <p:cNvPr id="25" name="Resim 24">
                <a:extLst>
                  <a:ext uri="{FF2B5EF4-FFF2-40B4-BE49-F238E27FC236}">
                    <a16:creationId xmlns:a16="http://schemas.microsoft.com/office/drawing/2014/main" id="{05B17185-4B10-9C48-B8DC-2DCBA184E97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2"/>
              <a:srcRect l="6389" r="13271" b="13156"/>
              <a:stretch/>
            </p:blipFill>
            <p:spPr>
              <a:xfrm>
                <a:off x="5273675" y="3464625"/>
                <a:ext cx="357819" cy="79279"/>
              </a:xfrm>
              <a:prstGeom prst="roundRect">
                <a:avLst>
                  <a:gd name="adj" fmla="val 25758"/>
                </a:avLst>
              </a:prstGeom>
            </p:spPr>
          </p:pic>
        </p:grpSp>
        <p:grpSp>
          <p:nvGrpSpPr>
            <p:cNvPr id="43" name="Grup 42">
              <a:extLst>
                <a:ext uri="{FF2B5EF4-FFF2-40B4-BE49-F238E27FC236}">
                  <a16:creationId xmlns:a16="http://schemas.microsoft.com/office/drawing/2014/main" id="{B150B1C8-4058-DC48-AE51-EA251FF3B131}"/>
                </a:ext>
              </a:extLst>
            </p:cNvPr>
            <p:cNvGrpSpPr/>
            <p:nvPr/>
          </p:nvGrpSpPr>
          <p:grpSpPr>
            <a:xfrm>
              <a:off x="4752998" y="3172441"/>
              <a:ext cx="374400" cy="374400"/>
              <a:chOff x="5238773" y="2861896"/>
              <a:chExt cx="374400" cy="374400"/>
            </a:xfrm>
          </p:grpSpPr>
          <p:sp>
            <p:nvSpPr>
              <p:cNvPr id="141" name="Grup">
                <a:extLst>
                  <a:ext uri="{FF2B5EF4-FFF2-40B4-BE49-F238E27FC236}">
                    <a16:creationId xmlns:a16="http://schemas.microsoft.com/office/drawing/2014/main" id="{B742F6D8-6CC6-F648-9184-9FA708973391}"/>
                  </a:ext>
                </a:extLst>
              </p:cNvPr>
              <p:cNvSpPr/>
              <p:nvPr/>
            </p:nvSpPr>
            <p:spPr>
              <a:xfrm>
                <a:off x="5238773" y="2861896"/>
                <a:ext cx="374400" cy="374400"/>
              </a:xfrm>
              <a:prstGeom prst="roundRect">
                <a:avLst>
                  <a:gd name="adj" fmla="val 15000"/>
                </a:avLst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306745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"/>
                  <a:ea typeface="ＭＳ Ｐゴシック" charset="0"/>
                  <a:cs typeface="Arial" charset="0"/>
                  <a:sym typeface="Helvetica"/>
                </a:endParaRPr>
              </a:p>
            </p:txBody>
          </p:sp>
          <p:pic>
            <p:nvPicPr>
              <p:cNvPr id="27" name="Resim 26">
                <a:extLst>
                  <a:ext uri="{FF2B5EF4-FFF2-40B4-BE49-F238E27FC236}">
                    <a16:creationId xmlns:a16="http://schemas.microsoft.com/office/drawing/2014/main" id="{FBE258AB-D285-6142-8049-AC8158B69A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5263904" y="3023205"/>
                <a:ext cx="324072" cy="62765"/>
              </a:xfrm>
              <a:prstGeom prst="roundRect">
                <a:avLst>
                  <a:gd name="adj" fmla="val 25238"/>
                </a:avLst>
              </a:prstGeom>
            </p:spPr>
          </p:pic>
        </p:grpSp>
      </p:grpSp>
      <p:grpSp>
        <p:nvGrpSpPr>
          <p:cNvPr id="22" name="Grup 21">
            <a:extLst>
              <a:ext uri="{FF2B5EF4-FFF2-40B4-BE49-F238E27FC236}">
                <a16:creationId xmlns:a16="http://schemas.microsoft.com/office/drawing/2014/main" id="{A0574C87-D5E1-4C45-8D04-57B3F7064198}"/>
              </a:ext>
            </a:extLst>
          </p:cNvPr>
          <p:cNvGrpSpPr/>
          <p:nvPr/>
        </p:nvGrpSpPr>
        <p:grpSpPr>
          <a:xfrm>
            <a:off x="1151207" y="2483442"/>
            <a:ext cx="1184798" cy="1012077"/>
            <a:chOff x="2451659" y="3227266"/>
            <a:chExt cx="1579730" cy="1349436"/>
          </a:xfrm>
        </p:grpSpPr>
        <p:grpSp>
          <p:nvGrpSpPr>
            <p:cNvPr id="907" name="Grup"/>
            <p:cNvGrpSpPr/>
            <p:nvPr/>
          </p:nvGrpSpPr>
          <p:grpSpPr>
            <a:xfrm>
              <a:off x="2851958" y="3788426"/>
              <a:ext cx="374400" cy="374400"/>
              <a:chOff x="654975" y="0"/>
              <a:chExt cx="648099" cy="702252"/>
            </a:xfrm>
          </p:grpSpPr>
          <p:sp>
            <p:nvSpPr>
              <p:cNvPr id="905" name="Grup"/>
              <p:cNvSpPr/>
              <p:nvPr/>
            </p:nvSpPr>
            <p:spPr>
              <a:xfrm>
                <a:off x="654975" y="0"/>
                <a:ext cx="648099" cy="702252"/>
              </a:xfrm>
              <a:prstGeom prst="roundRect">
                <a:avLst>
                  <a:gd name="adj" fmla="val 15000"/>
                </a:avLst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306745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"/>
                  <a:ea typeface="ＭＳ Ｐゴシック" charset="0"/>
                  <a:cs typeface="Arial" charset="0"/>
                  <a:sym typeface="Helvetica"/>
                </a:endParaRPr>
              </a:p>
            </p:txBody>
          </p:sp>
          <p:pic>
            <p:nvPicPr>
              <p:cNvPr id="906" name="online-shop.png" descr="online-shop.png"/>
              <p:cNvPicPr>
                <a:picLocks noChangeAspect="1"/>
              </p:cNvPicPr>
              <p:nvPr/>
            </p:nvPicPr>
            <p:blipFill>
              <a:blip r:embed="rId24">
                <a:extLst/>
              </a:blip>
              <a:stretch>
                <a:fillRect/>
              </a:stretch>
            </p:blipFill>
            <p:spPr>
              <a:xfrm>
                <a:off x="778637" y="166256"/>
                <a:ext cx="399214" cy="399215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sp>
          <p:nvSpPr>
            <p:cNvPr id="888" name="Header Enrichment Effect"/>
            <p:cNvSpPr txBox="1"/>
            <p:nvPr/>
          </p:nvSpPr>
          <p:spPr>
            <a:xfrm>
              <a:off x="2451659" y="3227266"/>
              <a:ext cx="1579730" cy="5158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0111" tIns="20111" rIns="20111" bIns="20111" numCol="1" anchor="ctr">
              <a:spAutoFit/>
            </a:bodyPr>
            <a:lstStyle/>
            <a:p>
              <a:pPr marL="0" marR="0" lvl="0" indent="0" algn="ctr" defTabSz="6752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500">
                  <a:solidFill>
                    <a:srgbClr val="FFFFFF"/>
                  </a:solidFill>
                  <a:latin typeface="Greycliff CF Medium"/>
                  <a:ea typeface="Greycliff CF Medium"/>
                  <a:cs typeface="Greycliff CF Medium"/>
                  <a:sym typeface="Greycliff CF Medium"/>
                </a:defRPr>
              </a:pPr>
              <a:r>
                <a:rPr kumimoji="0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/>
                  <a:ea typeface="Greycliff CF Medium"/>
                  <a:cs typeface="Greycliff CF Medium"/>
                  <a:sym typeface="Greycliff CF Medium"/>
                </a:rPr>
                <a:t> </a:t>
              </a:r>
              <a:r>
                <a:rPr kumimoji="0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C40C"/>
                  </a:solidFill>
                  <a:effectLst/>
                  <a:uLnTx/>
                  <a:uFillTx/>
                  <a:latin typeface="Greycliff CF Heavy"/>
                  <a:ea typeface="Greycliff CF Heavy"/>
                  <a:cs typeface="Greycliff CF Heavy"/>
                  <a:sym typeface="Greycliff CF Heavy"/>
                </a:rPr>
                <a:t>Header</a:t>
              </a:r>
              <a:r>
                <a:rPr kumimoji="0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/>
                  <a:ea typeface="Greycliff CF Medium"/>
                  <a:cs typeface="Greycliff CF Medium"/>
                  <a:sym typeface="Greycliff CF Medium"/>
                </a:rPr>
                <a:t> </a:t>
              </a:r>
              <a:endParaRPr kumimoji="0" lang="tr-TR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endParaRPr>
            </a:p>
            <a:p>
              <a:pPr marL="0" marR="0" lvl="0" indent="0" algn="ctr" defTabSz="6752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500">
                  <a:solidFill>
                    <a:srgbClr val="FFFFFF"/>
                  </a:solidFill>
                  <a:latin typeface="Greycliff CF Medium"/>
                  <a:ea typeface="Greycliff CF Medium"/>
                  <a:cs typeface="Greycliff CF Medium"/>
                  <a:sym typeface="Greycliff CF Medium"/>
                </a:defRPr>
              </a:pPr>
              <a:r>
                <a:rPr kumimoji="0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/>
                  <a:ea typeface="Greycliff CF Medium"/>
                  <a:cs typeface="Greycliff CF Medium"/>
                  <a:sym typeface="Greycliff CF Medium"/>
                </a:rPr>
                <a:t>Enrichment </a:t>
              </a:r>
              <a:endParaRPr kumimoji="0" lang="tr-TR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endParaRPr>
            </a:p>
            <a:p>
              <a:pPr marL="0" marR="0" lvl="0" indent="0" algn="ctr" defTabSz="67520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500">
                  <a:solidFill>
                    <a:srgbClr val="FFFFFF"/>
                  </a:solidFill>
                  <a:latin typeface="Greycliff CF Medium"/>
                  <a:ea typeface="Greycliff CF Medium"/>
                  <a:cs typeface="Greycliff CF Medium"/>
                  <a:sym typeface="Greycliff CF Medium"/>
                </a:defRPr>
              </a:pPr>
              <a:r>
                <a:rPr kumimoji="0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eycliff CF Medium"/>
                  <a:ea typeface="Greycliff CF Medium"/>
                  <a:cs typeface="Greycliff CF Medium"/>
                  <a:sym typeface="Greycliff CF Medium"/>
                </a:rPr>
                <a:t>Effect</a:t>
              </a:r>
            </a:p>
          </p:txBody>
        </p:sp>
        <p:pic>
          <p:nvPicPr>
            <p:cNvPr id="21" name="Resim 20">
              <a:extLst>
                <a:ext uri="{FF2B5EF4-FFF2-40B4-BE49-F238E27FC236}">
                  <a16:creationId xmlns:a16="http://schemas.microsoft.com/office/drawing/2014/main" id="{75B79A4B-8DC7-C141-B364-5ACDDC40A6B5}"/>
                </a:ext>
              </a:extLst>
            </p:cNvPr>
            <p:cNvPicPr>
              <a:picLocks/>
            </p:cNvPicPr>
            <p:nvPr/>
          </p:nvPicPr>
          <p:blipFill rotWithShape="1">
            <a:blip r:embed="rId25"/>
            <a:srcRect l="17731" t="3398" r="18317" b="9431"/>
            <a:stretch/>
          </p:blipFill>
          <p:spPr>
            <a:xfrm>
              <a:off x="3282950" y="3787775"/>
              <a:ext cx="374400" cy="374400"/>
            </a:xfrm>
            <a:prstGeom prst="rect">
              <a:avLst/>
            </a:prstGeom>
          </p:spPr>
        </p:pic>
        <p:pic>
          <p:nvPicPr>
            <p:cNvPr id="23" name="Resim 22">
              <a:extLst>
                <a:ext uri="{FF2B5EF4-FFF2-40B4-BE49-F238E27FC236}">
                  <a16:creationId xmlns:a16="http://schemas.microsoft.com/office/drawing/2014/main" id="{3A17F657-47CB-5D40-90C0-3B8BEE7608BC}"/>
                </a:ext>
              </a:extLst>
            </p:cNvPr>
            <p:cNvPicPr>
              <a:picLocks/>
            </p:cNvPicPr>
            <p:nvPr/>
          </p:nvPicPr>
          <p:blipFill rotWithShape="1">
            <a:blip r:embed="rId26"/>
            <a:srcRect l="56107" t="17271" r="8299" b="18169"/>
            <a:stretch/>
          </p:blipFill>
          <p:spPr>
            <a:xfrm>
              <a:off x="2853621" y="4202302"/>
              <a:ext cx="374400" cy="374400"/>
            </a:xfrm>
            <a:prstGeom prst="roundRect">
              <a:avLst/>
            </a:prstGeom>
          </p:spPr>
        </p:pic>
        <p:pic>
          <p:nvPicPr>
            <p:cNvPr id="4" name="Picture 3"/>
            <p:cNvPicPr>
              <a:picLocks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3283794" y="4201268"/>
              <a:ext cx="374400" cy="374400"/>
            </a:xfrm>
            <a:prstGeom prst="rect">
              <a:avLst/>
            </a:prstGeom>
          </p:spPr>
        </p:pic>
      </p:grpSp>
      <p:sp>
        <p:nvSpPr>
          <p:cNvPr id="116" name="Dikdörtgen 1">
            <a:extLst>
              <a:ext uri="{FF2B5EF4-FFF2-40B4-BE49-F238E27FC236}">
                <a16:creationId xmlns:a16="http://schemas.microsoft.com/office/drawing/2014/main" id="{9D56AED0-E9D2-2148-BBE4-24920B7477FA}"/>
              </a:ext>
            </a:extLst>
          </p:cNvPr>
          <p:cNvSpPr/>
          <p:nvPr/>
        </p:nvSpPr>
        <p:spPr>
          <a:xfrm flipH="1">
            <a:off x="7071194" y="1725129"/>
            <a:ext cx="667910" cy="2680693"/>
          </a:xfrm>
          <a:prstGeom prst="rect">
            <a:avLst/>
          </a:prstGeom>
          <a:gradFill>
            <a:gsLst>
              <a:gs pos="0">
                <a:srgbClr val="00AEE9"/>
              </a:gs>
              <a:gs pos="100000">
                <a:srgbClr val="0080BC"/>
              </a:gs>
            </a:gsLst>
            <a:lin ang="5400000" scaled="0"/>
          </a:gra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61348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1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Helvetica Neue"/>
              <a:cs typeface="Helvetica"/>
              <a:sym typeface="Helvetica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058260" y="1373045"/>
            <a:ext cx="846707" cy="35208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88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Light"/>
                <a:ea typeface="ＭＳ Ｐゴシック" charset="0"/>
                <a:cs typeface="Arial" charset="0"/>
                <a:sym typeface="Greycliff CF Heavy"/>
              </a:rPr>
              <a:t>24.1 M</a:t>
            </a:r>
          </a:p>
        </p:txBody>
      </p:sp>
      <p:sp>
        <p:nvSpPr>
          <p:cNvPr id="8" name="Rectangle 7"/>
          <p:cNvSpPr/>
          <p:nvPr/>
        </p:nvSpPr>
        <p:spPr>
          <a:xfrm>
            <a:off x="7185306" y="4598678"/>
            <a:ext cx="657168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>
                <a:solidFill>
                  <a:srgbClr val="FFFFFF"/>
                </a:solidFill>
                <a:latin typeface="Greycliff CF Medium"/>
                <a:ea typeface="Greycliff CF Medium"/>
                <a:cs typeface="Greycliff CF Medium"/>
                <a:sym typeface="Greycliff CF Medium"/>
              </a:defRPr>
            </a:pPr>
            <a:r>
              <a:rPr kumimoji="0" lang="en-GB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rPr>
              <a:t>OCT</a:t>
            </a:r>
            <a:r>
              <a:rPr kumimoji="0" lang="tr-TR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rPr>
              <a:t> 2018</a:t>
            </a:r>
          </a:p>
        </p:txBody>
      </p:sp>
      <p:sp>
        <p:nvSpPr>
          <p:cNvPr id="126" name="Dikdörtgen 1">
            <a:extLst>
              <a:ext uri="{FF2B5EF4-FFF2-40B4-BE49-F238E27FC236}">
                <a16:creationId xmlns:a16="http://schemas.microsoft.com/office/drawing/2014/main" id="{9D56AED0-E9D2-2148-BBE4-24920B7477FA}"/>
              </a:ext>
            </a:extLst>
          </p:cNvPr>
          <p:cNvSpPr/>
          <p:nvPr/>
        </p:nvSpPr>
        <p:spPr>
          <a:xfrm flipH="1">
            <a:off x="8176447" y="1221086"/>
            <a:ext cx="645838" cy="3175686"/>
          </a:xfrm>
          <a:prstGeom prst="rect">
            <a:avLst/>
          </a:prstGeom>
          <a:gradFill>
            <a:gsLst>
              <a:gs pos="0">
                <a:srgbClr val="00AEE9"/>
              </a:gs>
              <a:gs pos="100000">
                <a:srgbClr val="0080BC"/>
              </a:gs>
            </a:gsLst>
            <a:lin ang="5400000" scaled="0"/>
          </a:gra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61348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1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Helvetica Neue"/>
              <a:cs typeface="Helvetica"/>
              <a:sym typeface="Helvetica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8091844" y="872597"/>
            <a:ext cx="785793" cy="35208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88" b="0" i="0" u="none" strike="noStrike" kern="0" cap="none" spc="0" normalizeH="0" baseline="0" noProof="0" dirty="0">
                <a:ln>
                  <a:noFill/>
                </a:ln>
                <a:solidFill>
                  <a:srgbClr val="FFC40C"/>
                </a:solidFill>
                <a:effectLst/>
                <a:uLnTx/>
                <a:uFillTx/>
                <a:latin typeface="Greycliff CF Light"/>
                <a:ea typeface="ＭＳ Ｐゴシック" charset="0"/>
                <a:cs typeface="Arial" charset="0"/>
                <a:sym typeface="Greycliff CF Heavy"/>
              </a:rPr>
              <a:t>25.9M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091844" y="4601601"/>
            <a:ext cx="62549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67520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>
                <a:solidFill>
                  <a:srgbClr val="FFFFFF"/>
                </a:solidFill>
                <a:latin typeface="Greycliff CF Medium"/>
                <a:ea typeface="Greycliff CF Medium"/>
                <a:cs typeface="Greycliff CF Medium"/>
                <a:sym typeface="Greycliff CF Medium"/>
              </a:defRPr>
            </a:pPr>
            <a:r>
              <a:rPr kumimoji="0" lang="en-GB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rPr>
              <a:t>DEC</a:t>
            </a:r>
            <a:r>
              <a:rPr kumimoji="0" lang="tr-TR" sz="7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eycliff CF Medium"/>
                <a:ea typeface="Greycliff CF Medium"/>
                <a:cs typeface="Greycliff CF Medium"/>
                <a:sym typeface="Greycliff CF Medium"/>
              </a:rPr>
              <a:t> 2018</a:t>
            </a:r>
          </a:p>
        </p:txBody>
      </p:sp>
      <p:pic>
        <p:nvPicPr>
          <p:cNvPr id="110" name="Picture 2" descr="Related image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4423" y="630142"/>
            <a:ext cx="506117" cy="379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1" name="Picture 110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2575" y="1030652"/>
            <a:ext cx="321817" cy="321817"/>
          </a:xfrm>
          <a:prstGeom prst="rect">
            <a:avLst/>
          </a:prstGeom>
        </p:spPr>
      </p:pic>
      <p:pic>
        <p:nvPicPr>
          <p:cNvPr id="112" name="Picture 8" descr="Ä°lgili resim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793" y="1121709"/>
            <a:ext cx="342149" cy="314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112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878607" y="739492"/>
            <a:ext cx="324916" cy="327233"/>
          </a:xfrm>
          <a:prstGeom prst="rect">
            <a:avLst/>
          </a:prstGeom>
        </p:spPr>
      </p:pic>
      <p:pic>
        <p:nvPicPr>
          <p:cNvPr id="114" name="Picture 113"/>
          <p:cNvPicPr>
            <a:picLocks noChangeAspect="1"/>
          </p:cNvPicPr>
          <p:nvPr/>
        </p:nvPicPr>
        <p:blipFill rotWithShape="1">
          <a:blip r:embed="rId32">
            <a:extLst/>
          </a:blip>
          <a:srcRect l="17864" r="19148" b="11441"/>
          <a:stretch/>
        </p:blipFill>
        <p:spPr>
          <a:xfrm>
            <a:off x="6301874" y="1234173"/>
            <a:ext cx="365192" cy="399349"/>
          </a:xfrm>
          <a:prstGeom prst="rect">
            <a:avLst/>
          </a:prstGeom>
        </p:spPr>
      </p:pic>
      <p:pic>
        <p:nvPicPr>
          <p:cNvPr id="115" name="Playcell_Logo_170x156-a7f49acf3029733916c01753c7facdbd.png" descr="Playcell_Logo_170x156-a7f49acf3029733916c01753c7facdbd.png">
            <a:extLst>
              <a:ext uri="{FF2B5EF4-FFF2-40B4-BE49-F238E27FC236}">
                <a16:creationId xmlns:a16="http://schemas.microsoft.com/office/drawing/2014/main" id="{EC6C95F7-80BD-744F-AF38-29A21EC1061C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/>
          </a:blip>
          <a:stretch>
            <a:fillRect/>
          </a:stretch>
        </p:blipFill>
        <p:spPr>
          <a:xfrm>
            <a:off x="6329255" y="1639476"/>
            <a:ext cx="337811" cy="309992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18" name="image39.png" descr="image39.png">
            <a:extLst>
              <a:ext uri="{FF2B5EF4-FFF2-40B4-BE49-F238E27FC236}">
                <a16:creationId xmlns:a16="http://schemas.microsoft.com/office/drawing/2014/main" id="{6D28238B-10E6-AC4D-A770-4F31710BCF51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/>
          </a:blip>
          <a:srcRect l="3666" r="3665"/>
          <a:stretch>
            <a:fillRect/>
          </a:stretch>
        </p:blipFill>
        <p:spPr>
          <a:xfrm>
            <a:off x="6262846" y="929898"/>
            <a:ext cx="467339" cy="37780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1357823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flythrough dir="ou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3936365" y="885289"/>
            <a:ext cx="4864045" cy="3645752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 charset="0"/>
              </a:rPr>
              <a:t>Personal Data – Mobile Connect</a:t>
            </a: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DF6AA9-66E8-4EDF-BC96-A318BF818F57}" type="slidenum"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 charset="0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bile Connect can replace user names and password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80015" y="3701645"/>
            <a:ext cx="579086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2647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 charset="0"/>
              </a:rPr>
              <a:t>Hadi</a:t>
            </a: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 charset="0"/>
              </a:rPr>
              <a:t> is one of </a:t>
            </a:r>
            <a:r>
              <a:rPr kumimoji="0" lang="en-GB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 charset="0"/>
              </a:rPr>
              <a:t>Turkcell’s</a:t>
            </a: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 charset="0"/>
              </a:rPr>
              <a:t> merchants and uses Mobile Connect as the only authentication solution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015" y="1174977"/>
            <a:ext cx="3177806" cy="1599067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3719283" y="1174977"/>
            <a:ext cx="0" cy="24377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29640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68348" y="1102546"/>
            <a:ext cx="5560834" cy="2478343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 charset="0"/>
              </a:rPr>
              <a:t>Identity – Mobile Conne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DF6AA9-66E8-4EDF-BC96-A318BF818F57}" type="slidenum"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  <a:cs typeface="Arial" charset="0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  <a:cs typeface="Arial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Orange </a:t>
            </a:r>
            <a:r>
              <a:rPr lang="en-GB" dirty="0" err="1"/>
              <a:t>France:Digital</a:t>
            </a:r>
            <a:r>
              <a:rPr lang="en-GB" dirty="0"/>
              <a:t> transformation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020409" y="922130"/>
            <a:ext cx="2948025" cy="3306055"/>
          </a:xfrm>
          <a:prstGeom prst="rect">
            <a:avLst/>
          </a:prstGeom>
          <a:solidFill>
            <a:srgbClr val="9490B6"/>
          </a:solidFill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168169" y="1164471"/>
            <a:ext cx="2615927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The French Government is driving the digitisation of public services through 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France Connect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the public services digital platform.500 public services are accessible. </a:t>
            </a:r>
          </a:p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Arial" charset="0"/>
            </a:endParaRPr>
          </a:p>
          <a:p>
            <a:pPr marL="0" marR="0" lvl="0" indent="9525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The goal is that every citizen will have a digital identity which would drive the digital transformation of France – reducing costs, simplifying life through the “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say it onc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” initiative, where public bodies have to share information rather than ask citizens for data already held.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342367" y="3288082"/>
            <a:ext cx="1496860" cy="3945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92065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Identity – Mobile Connect</a:t>
            </a: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DF6AA9-66E8-4EDF-BC96-A318BF818F57}" type="slidenum"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range </a:t>
            </a:r>
            <a:r>
              <a:rPr lang="en-GB" dirty="0" err="1"/>
              <a:t>France:Digital</a:t>
            </a:r>
            <a:r>
              <a:rPr lang="en-GB" dirty="0"/>
              <a:t> transformation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07086"/>
            <a:ext cx="5694856" cy="297728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5808270" y="961947"/>
            <a:ext cx="3247948" cy="2783435"/>
          </a:xfrm>
          <a:prstGeom prst="rect">
            <a:avLst/>
          </a:prstGeom>
          <a:solidFill>
            <a:srgbClr val="9490B6"/>
          </a:solidFill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833106" y="1089706"/>
            <a:ext cx="3223112" cy="2200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9525" algn="l" defTabSz="914378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Working with the French Government, Orange has created  “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Mobile Connect et 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Mo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” a secure mobile authentication solution to access France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Connect.Thi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 allows customers to register and login with their mobile device.</a:t>
            </a:r>
          </a:p>
          <a:p>
            <a:pPr marL="0" marR="0" lvl="0" indent="9525" algn="l" defTabSz="914378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charset="0"/>
              </a:rPr>
              <a:t>The citizens’ identity is verified on registration using an ID document scan. They can then access all available public services using their mobile device and a  PIN stored on the SIM card. </a:t>
            </a:r>
          </a:p>
        </p:txBody>
      </p:sp>
    </p:spTree>
    <p:extLst>
      <p:ext uri="{BB962C8B-B14F-4D97-AF65-F5344CB8AC3E}">
        <p14:creationId xmlns:p14="http://schemas.microsoft.com/office/powerpoint/2010/main" val="24479387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360 Content">
  <a:themeElements>
    <a:clrScheme name="GSMAi 2018">
      <a:dk1>
        <a:srgbClr val="FFFFFF"/>
      </a:dk1>
      <a:lt1>
        <a:srgbClr val="FFFFFF"/>
      </a:lt1>
      <a:dk2>
        <a:srgbClr val="DE002B"/>
      </a:dk2>
      <a:lt2>
        <a:srgbClr val="001D32"/>
      </a:lt2>
      <a:accent1>
        <a:srgbClr val="DE002B"/>
      </a:accent1>
      <a:accent2>
        <a:srgbClr val="001D32"/>
      </a:accent2>
      <a:accent3>
        <a:srgbClr val="49BDB5"/>
      </a:accent3>
      <a:accent4>
        <a:srgbClr val="666666"/>
      </a:accent4>
      <a:accent5>
        <a:srgbClr val="666666"/>
      </a:accent5>
      <a:accent6>
        <a:srgbClr val="AAAAAA"/>
      </a:accent6>
      <a:hlink>
        <a:srgbClr val="49BDB5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w_gsmai_ppt_v3" id="{5494E769-7546-054C-B26F-68EE05DBBD7E}" vid="{C45DB228-AAB2-9C40-A22F-454705B6CADD}"/>
    </a:ext>
  </a:extLst>
</a:theme>
</file>

<file path=ppt/theme/theme3.xml><?xml version="1.0" encoding="utf-8"?>
<a:theme xmlns:a="http://schemas.openxmlformats.org/drawingml/2006/main" name="2_GSMA">
  <a:themeElements>
    <a:clrScheme name="GSMAColours">
      <a:dk1>
        <a:srgbClr val="5C5C5C"/>
      </a:dk1>
      <a:lt1>
        <a:srgbClr val="FFFFFF"/>
      </a:lt1>
      <a:dk2>
        <a:srgbClr val="808285"/>
      </a:dk2>
      <a:lt2>
        <a:srgbClr val="FCBB2C"/>
      </a:lt2>
      <a:accent1>
        <a:srgbClr val="DE002B"/>
      </a:accent1>
      <a:accent2>
        <a:srgbClr val="000000"/>
      </a:accent2>
      <a:accent3>
        <a:srgbClr val="99CCCC"/>
      </a:accent3>
      <a:accent4>
        <a:srgbClr val="808285"/>
      </a:accent4>
      <a:accent5>
        <a:srgbClr val="00568F"/>
      </a:accent5>
      <a:accent6>
        <a:srgbClr val="FF6600"/>
      </a:accent6>
      <a:hlink>
        <a:srgbClr val="DE002B"/>
      </a:hlink>
      <a:folHlink>
        <a:srgbClr val="808285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E002B"/>
        </a:solidFill>
        <a:ln>
          <a:solidFill>
            <a:srgbClr val="DE002B"/>
          </a:solidFill>
        </a:ln>
      </a:spPr>
      <a:bodyPr rtlCol="0" anchor="ctr"/>
      <a:lstStyle>
        <a:defPPr algn="ctr">
          <a:defRPr dirty="0" err="1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400" dirty="0" smtClean="0">
            <a:latin typeface="+mj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GSMA Mobile Connect - Master template - 16-9[1]">
  <a:themeElements>
    <a:clrScheme name="GSMA 2">
      <a:dk1>
        <a:srgbClr val="000000"/>
      </a:dk1>
      <a:lt1>
        <a:srgbClr val="FFFFFF"/>
      </a:lt1>
      <a:dk2>
        <a:srgbClr val="000000"/>
      </a:dk2>
      <a:lt2>
        <a:srgbClr val="00A6C9"/>
      </a:lt2>
      <a:accent1>
        <a:srgbClr val="55517B"/>
      </a:accent1>
      <a:accent2>
        <a:srgbClr val="99CCCC"/>
      </a:accent2>
      <a:accent3>
        <a:srgbClr val="808285"/>
      </a:accent3>
      <a:accent4>
        <a:srgbClr val="000000"/>
      </a:accent4>
      <a:accent5>
        <a:srgbClr val="FF6600"/>
      </a:accent5>
      <a:accent6>
        <a:srgbClr val="95226C"/>
      </a:accent6>
      <a:hlink>
        <a:srgbClr val="55517B"/>
      </a:hlink>
      <a:folHlink>
        <a:srgbClr val="C60C34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62B4C12D-AD4A-0844-B69D-3234ED70F3DD}" vid="{04460362-64EA-4145-9773-B3E5D8F1F532}"/>
    </a:ext>
  </a:extLst>
</a:theme>
</file>

<file path=ppt/theme/theme5.xml><?xml version="1.0" encoding="utf-8"?>
<a:theme xmlns:a="http://schemas.openxmlformats.org/drawingml/2006/main" name="21_GSMA Mobile Connect - Master template - 16-9[1]">
  <a:themeElements>
    <a:clrScheme name="GSMA 2">
      <a:dk1>
        <a:srgbClr val="000000"/>
      </a:dk1>
      <a:lt1>
        <a:srgbClr val="FFFFFF"/>
      </a:lt1>
      <a:dk2>
        <a:srgbClr val="000000"/>
      </a:dk2>
      <a:lt2>
        <a:srgbClr val="00A6C9"/>
      </a:lt2>
      <a:accent1>
        <a:srgbClr val="55517B"/>
      </a:accent1>
      <a:accent2>
        <a:srgbClr val="99CCCC"/>
      </a:accent2>
      <a:accent3>
        <a:srgbClr val="808285"/>
      </a:accent3>
      <a:accent4>
        <a:srgbClr val="000000"/>
      </a:accent4>
      <a:accent5>
        <a:srgbClr val="FF6600"/>
      </a:accent5>
      <a:accent6>
        <a:srgbClr val="95226C"/>
      </a:accent6>
      <a:hlink>
        <a:srgbClr val="55517B"/>
      </a:hlink>
      <a:folHlink>
        <a:srgbClr val="C60C34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SMA Mobile Connect - Master template 16x9 - Jan 18" id="{C7E04C42-0764-44D7-9F81-AB9AD97B913F}" vid="{4678CB8B-81CE-4FB8-9755-81F1F0CE5E62}"/>
    </a:ext>
  </a:extLst>
</a:theme>
</file>

<file path=ppt/theme/theme6.xml><?xml version="1.0" encoding="utf-8"?>
<a:theme xmlns:a="http://schemas.openxmlformats.org/drawingml/2006/main" name="1_White">
  <a:themeElements>
    <a:clrScheme name="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17985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3630" tIns="53630" rIns="53630" bIns="53630" numCol="1" spcCol="38100" rtlCol="0" anchor="ctr">
        <a:spAutoFit/>
      </a:bodyPr>
      <a:lstStyle>
        <a:defPPr marL="0" marR="0" indent="0" algn="ctr" defTabSz="817985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7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583</TotalTime>
  <Words>987</Words>
  <Application>Microsoft Macintosh PowerPoint</Application>
  <PresentationFormat>On-screen Show (16:9)</PresentationFormat>
  <Paragraphs>140</Paragraphs>
  <Slides>1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1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42" baseType="lpstr">
      <vt:lpstr>ＭＳ Ｐゴシック</vt:lpstr>
      <vt:lpstr>Arial</vt:lpstr>
      <vt:lpstr>Arial Narrow</vt:lpstr>
      <vt:lpstr>Calibri</vt:lpstr>
      <vt:lpstr>Calibri Light</vt:lpstr>
      <vt:lpstr>Futura LT Book</vt:lpstr>
      <vt:lpstr>Gotham Light</vt:lpstr>
      <vt:lpstr>Gotham Narrow Bold</vt:lpstr>
      <vt:lpstr>Gotham-Light</vt:lpstr>
      <vt:lpstr>Greycliff CF Heavy</vt:lpstr>
      <vt:lpstr>Greycliff CF Light</vt:lpstr>
      <vt:lpstr>Greycliff CF Medium</vt:lpstr>
      <vt:lpstr>Helvetica</vt:lpstr>
      <vt:lpstr>Helvetica Neue</vt:lpstr>
      <vt:lpstr>Helvetica Neue Light</vt:lpstr>
      <vt:lpstr>Helvetica Neue Medium</vt:lpstr>
      <vt:lpstr>Montserrat Hairline</vt:lpstr>
      <vt:lpstr>Raleway Regular</vt:lpstr>
      <vt:lpstr>Sketch Rockwell</vt:lpstr>
      <vt:lpstr>Times New Roman</vt:lpstr>
      <vt:lpstr>Wingdings</vt:lpstr>
      <vt:lpstr>1_GSMA</vt:lpstr>
      <vt:lpstr>M360 Content</vt:lpstr>
      <vt:lpstr>2_GSMA</vt:lpstr>
      <vt:lpstr>GSMA Mobile Connect - Master template - 16-9[1]</vt:lpstr>
      <vt:lpstr>21_GSMA Mobile Connect - Master template - 16-9[1]</vt:lpstr>
      <vt:lpstr>1_White</vt:lpstr>
      <vt:lpstr>1_Office Theme</vt:lpstr>
      <vt:lpstr>think-cell Slide</vt:lpstr>
      <vt:lpstr>Operator Based Authentication </vt:lpstr>
      <vt:lpstr>The global, mobile-operator facilitated, secure identity service</vt:lpstr>
      <vt:lpstr>Mobile Connect Services (defined &amp; supported by GSMA)</vt:lpstr>
      <vt:lpstr>Mobile Connect Authentication</vt:lpstr>
      <vt:lpstr>Turkcell digital transformation strategy</vt:lpstr>
      <vt:lpstr>PowerPoint Presentation</vt:lpstr>
      <vt:lpstr>Mobile Connect can replace user names and passwords</vt:lpstr>
      <vt:lpstr> Orange France:Digital transformation </vt:lpstr>
      <vt:lpstr>Orange France:Digital transformation</vt:lpstr>
      <vt:lpstr>Orange France:Digital transform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penttinen@gsma.com</dc:creator>
  <cp:lastModifiedBy>Carlos Bosch</cp:lastModifiedBy>
  <cp:revision>381</cp:revision>
  <cp:lastPrinted>2019-07-19T20:21:46Z</cp:lastPrinted>
  <dcterms:created xsi:type="dcterms:W3CDTF">2015-08-18T07:33:33Z</dcterms:created>
  <dcterms:modified xsi:type="dcterms:W3CDTF">2019-07-24T16:01:11Z</dcterms:modified>
</cp:coreProperties>
</file>